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419" r:id="rId5"/>
    <p:sldMasterId id="2147484427" r:id="rId6"/>
    <p:sldMasterId id="2147484434" r:id="rId7"/>
    <p:sldMasterId id="2147484502" r:id="rId8"/>
    <p:sldMasterId id="2147484522" r:id="rId9"/>
    <p:sldMasterId id="2147484552" r:id="rId10"/>
  </p:sldMasterIdLst>
  <p:notesMasterIdLst>
    <p:notesMasterId r:id="rId99"/>
  </p:notesMasterIdLst>
  <p:handoutMasterIdLst>
    <p:handoutMasterId r:id="rId100"/>
  </p:handoutMasterIdLst>
  <p:sldIdLst>
    <p:sldId id="1735" r:id="rId11"/>
    <p:sldId id="1736" r:id="rId12"/>
    <p:sldId id="1737" r:id="rId13"/>
    <p:sldId id="1661" r:id="rId14"/>
    <p:sldId id="1698" r:id="rId15"/>
    <p:sldId id="1664" r:id="rId16"/>
    <p:sldId id="1665" r:id="rId17"/>
    <p:sldId id="1656" r:id="rId18"/>
    <p:sldId id="1658" r:id="rId19"/>
    <p:sldId id="1738" r:id="rId20"/>
    <p:sldId id="1660" r:id="rId21"/>
    <p:sldId id="1739" r:id="rId22"/>
    <p:sldId id="1740" r:id="rId23"/>
    <p:sldId id="1741" r:id="rId24"/>
    <p:sldId id="1742" r:id="rId25"/>
    <p:sldId id="1743" r:id="rId26"/>
    <p:sldId id="1745" r:id="rId27"/>
    <p:sldId id="1744" r:id="rId28"/>
    <p:sldId id="1695" r:id="rId29"/>
    <p:sldId id="1696" r:id="rId30"/>
    <p:sldId id="1697" r:id="rId31"/>
    <p:sldId id="1670" r:id="rId32"/>
    <p:sldId id="1671" r:id="rId33"/>
    <p:sldId id="1672" r:id="rId34"/>
    <p:sldId id="1673" r:id="rId35"/>
    <p:sldId id="1674" r:id="rId36"/>
    <p:sldId id="1675" r:id="rId37"/>
    <p:sldId id="1676" r:id="rId38"/>
    <p:sldId id="1677" r:id="rId39"/>
    <p:sldId id="1678" r:id="rId40"/>
    <p:sldId id="1679" r:id="rId41"/>
    <p:sldId id="1680" r:id="rId42"/>
    <p:sldId id="1681" r:id="rId43"/>
    <p:sldId id="1683" r:id="rId44"/>
    <p:sldId id="1682" r:id="rId45"/>
    <p:sldId id="1684" r:id="rId46"/>
    <p:sldId id="1685" r:id="rId47"/>
    <p:sldId id="1686" r:id="rId48"/>
    <p:sldId id="1687" r:id="rId49"/>
    <p:sldId id="1688" r:id="rId50"/>
    <p:sldId id="1689" r:id="rId51"/>
    <p:sldId id="1690" r:id="rId52"/>
    <p:sldId id="1691" r:id="rId53"/>
    <p:sldId id="1692" r:id="rId54"/>
    <p:sldId id="1699" r:id="rId55"/>
    <p:sldId id="1700" r:id="rId56"/>
    <p:sldId id="1701" r:id="rId57"/>
    <p:sldId id="1703" r:id="rId58"/>
    <p:sldId id="1706" r:id="rId59"/>
    <p:sldId id="1707" r:id="rId60"/>
    <p:sldId id="1708" r:id="rId61"/>
    <p:sldId id="1709" r:id="rId62"/>
    <p:sldId id="1710" r:id="rId63"/>
    <p:sldId id="1711" r:id="rId64"/>
    <p:sldId id="1713" r:id="rId65"/>
    <p:sldId id="1714" r:id="rId66"/>
    <p:sldId id="1716" r:id="rId67"/>
    <p:sldId id="1717" r:id="rId68"/>
    <p:sldId id="1718" r:id="rId69"/>
    <p:sldId id="1719" r:id="rId70"/>
    <p:sldId id="1720" r:id="rId71"/>
    <p:sldId id="1721" r:id="rId72"/>
    <p:sldId id="1722" r:id="rId73"/>
    <p:sldId id="1732" r:id="rId74"/>
    <p:sldId id="1733" r:id="rId75"/>
    <p:sldId id="1746" r:id="rId76"/>
    <p:sldId id="1730" r:id="rId77"/>
    <p:sldId id="1747" r:id="rId78"/>
    <p:sldId id="1748" r:id="rId79"/>
    <p:sldId id="1749" r:id="rId80"/>
    <p:sldId id="1750" r:id="rId81"/>
    <p:sldId id="1726" r:id="rId82"/>
    <p:sldId id="1643" r:id="rId83"/>
    <p:sldId id="1644" r:id="rId84"/>
    <p:sldId id="1645" r:id="rId85"/>
    <p:sldId id="1646" r:id="rId86"/>
    <p:sldId id="1647" r:id="rId87"/>
    <p:sldId id="1648" r:id="rId88"/>
    <p:sldId id="1728" r:id="rId89"/>
    <p:sldId id="1727" r:id="rId90"/>
    <p:sldId id="1649" r:id="rId91"/>
    <p:sldId id="1650" r:id="rId92"/>
    <p:sldId id="1651" r:id="rId93"/>
    <p:sldId id="1652" r:id="rId94"/>
    <p:sldId id="1653" r:id="rId95"/>
    <p:sldId id="1654" r:id="rId96"/>
    <p:sldId id="1655" r:id="rId97"/>
    <p:sldId id="1725" r:id="rId9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CB713"/>
    <a:srgbClr val="005AA1"/>
    <a:srgbClr val="002864"/>
    <a:srgbClr val="002050"/>
    <a:srgbClr val="00BCF2"/>
    <a:srgbClr val="FFCC00"/>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6121" autoAdjust="0"/>
  </p:normalViewPr>
  <p:slideViewPr>
    <p:cSldViewPr snapToGrid="0">
      <p:cViewPr varScale="1">
        <p:scale>
          <a:sx n="63" d="100"/>
          <a:sy n="63" d="100"/>
        </p:scale>
        <p:origin x="267" y="58"/>
      </p:cViewPr>
      <p:guideLst>
        <p:guide orient="horz" pos="2203"/>
        <p:guide pos="391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handoutMaster" Target="handoutMasters/handoutMaster1.xml"/><Relationship Id="rId105"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slide" Target="slides/slide88.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notesMaster" Target="notesMasters/notesMaster1.xml"/><Relationship Id="rId10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18/2017 1:2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246030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58081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316082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52792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811713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718073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111403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446163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2:0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904045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171689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5665322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666563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3849047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1003135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9235285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3117194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1918046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773135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5606414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0073310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986879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113898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8844496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9974809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40252582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2950886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2350957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6186184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35709469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5466157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8860902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102673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3853452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3608548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5366069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5820927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40379858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5255802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40444660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New Roman" panose="02020603050405020304" pitchFamily="18" charset="0"/>
              <a:cs typeface="Arial" panose="020B0604020202020204" pitchFamily="34" charset="0"/>
            </a:endParaRPr>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pPr>
            <a:fld id="{826CF3E3-E1A0-412D-8E55-EFF5020ACB03}" type="slidenum">
              <a:rPr lang="en-US" altLang="en-US"/>
              <a:pPr eaLnBrk="1" hangingPunct="1">
                <a:spcBef>
                  <a:spcPct val="0"/>
                </a:spcBef>
              </a:pPr>
              <a:t>47</a:t>
            </a:fld>
            <a:endParaRPr lang="en-US" altLang="en-US" dirty="0"/>
          </a:p>
        </p:txBody>
      </p:sp>
    </p:spTree>
    <p:extLst>
      <p:ext uri="{BB962C8B-B14F-4D97-AF65-F5344CB8AC3E}">
        <p14:creationId xmlns:p14="http://schemas.microsoft.com/office/powerpoint/2010/main" val="24566649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ln/>
        </p:spPr>
      </p:sp>
      <p:sp>
        <p:nvSpPr>
          <p:cNvPr id="696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New Roman" panose="02020603050405020304" pitchFamily="18" charset="0"/>
              <a:cs typeface="Arial" panose="020B0604020202020204" pitchFamily="34" charset="0"/>
            </a:endParaRPr>
          </a:p>
        </p:txBody>
      </p:sp>
      <p:sp>
        <p:nvSpPr>
          <p:cNvPr id="696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pPr>
            <a:fld id="{697782BE-4274-4BFE-A68D-A3378BEFF527}" type="slidenum">
              <a:rPr lang="en-US" altLang="en-US"/>
              <a:pPr eaLnBrk="1" hangingPunct="1">
                <a:spcBef>
                  <a:spcPct val="0"/>
                </a:spcBef>
              </a:pPr>
              <a:t>48</a:t>
            </a:fld>
            <a:endParaRPr lang="en-US" altLang="en-US" dirty="0"/>
          </a:p>
        </p:txBody>
      </p:sp>
    </p:spTree>
    <p:extLst>
      <p:ext uri="{BB962C8B-B14F-4D97-AF65-F5344CB8AC3E}">
        <p14:creationId xmlns:p14="http://schemas.microsoft.com/office/powerpoint/2010/main" val="9982691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New Roman" panose="02020603050405020304" pitchFamily="18" charset="0"/>
              <a:cs typeface="Arial" panose="020B0604020202020204" pitchFamily="34" charset="0"/>
            </a:endParaRPr>
          </a:p>
        </p:txBody>
      </p:sp>
      <p:sp>
        <p:nvSpPr>
          <p:cNvPr id="727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pPr>
            <a:fld id="{99944457-0A5E-4D0E-B920-5E6AD827B23F}" type="slidenum">
              <a:rPr lang="en-US" altLang="en-US"/>
              <a:pPr eaLnBrk="1" hangingPunct="1">
                <a:spcBef>
                  <a:spcPct val="0"/>
                </a:spcBef>
              </a:pPr>
              <a:t>49</a:t>
            </a:fld>
            <a:endParaRPr lang="en-US" altLang="en-US" dirty="0"/>
          </a:p>
        </p:txBody>
      </p:sp>
    </p:spTree>
    <p:extLst>
      <p:ext uri="{BB962C8B-B14F-4D97-AF65-F5344CB8AC3E}">
        <p14:creationId xmlns:p14="http://schemas.microsoft.com/office/powerpoint/2010/main" val="2724129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9987048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New Roman" panose="02020603050405020304" pitchFamily="18" charset="0"/>
              <a:cs typeface="Arial" panose="020B0604020202020204" pitchFamily="34" charset="0"/>
            </a:endParaRPr>
          </a:p>
        </p:txBody>
      </p:sp>
      <p:sp>
        <p:nvSpPr>
          <p:cNvPr id="737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pPr>
            <a:fld id="{A86DC5AB-2D56-48D5-B475-FAFBA031A585}" type="slidenum">
              <a:rPr lang="en-US" altLang="en-US"/>
              <a:pPr eaLnBrk="1" hangingPunct="1">
                <a:spcBef>
                  <a:spcPct val="0"/>
                </a:spcBef>
              </a:pPr>
              <a:t>50</a:t>
            </a:fld>
            <a:endParaRPr lang="en-US" altLang="en-US" dirty="0"/>
          </a:p>
        </p:txBody>
      </p:sp>
    </p:spTree>
    <p:extLst>
      <p:ext uri="{BB962C8B-B14F-4D97-AF65-F5344CB8AC3E}">
        <p14:creationId xmlns:p14="http://schemas.microsoft.com/office/powerpoint/2010/main" val="523637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ln/>
        </p:spPr>
      </p:sp>
      <p:sp>
        <p:nvSpPr>
          <p:cNvPr id="747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New Roman" panose="02020603050405020304" pitchFamily="18" charset="0"/>
              <a:cs typeface="Arial" panose="020B0604020202020204" pitchFamily="34" charset="0"/>
            </a:endParaRPr>
          </a:p>
        </p:txBody>
      </p:sp>
      <p:sp>
        <p:nvSpPr>
          <p:cNvPr id="747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pPr>
            <a:fld id="{55AE5A56-85A8-419D-9884-B5077B116481}" type="slidenum">
              <a:rPr lang="en-US" altLang="en-US"/>
              <a:pPr eaLnBrk="1" hangingPunct="1">
                <a:spcBef>
                  <a:spcPct val="0"/>
                </a:spcBef>
              </a:pPr>
              <a:t>51</a:t>
            </a:fld>
            <a:endParaRPr lang="en-US" altLang="en-US" dirty="0"/>
          </a:p>
        </p:txBody>
      </p:sp>
    </p:spTree>
    <p:extLst>
      <p:ext uri="{BB962C8B-B14F-4D97-AF65-F5344CB8AC3E}">
        <p14:creationId xmlns:p14="http://schemas.microsoft.com/office/powerpoint/2010/main" val="11625495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ln/>
        </p:spPr>
      </p:sp>
      <p:sp>
        <p:nvSpPr>
          <p:cNvPr id="757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New Roman" panose="02020603050405020304" pitchFamily="18" charset="0"/>
              <a:cs typeface="Arial" panose="020B0604020202020204" pitchFamily="34" charset="0"/>
            </a:endParaRPr>
          </a:p>
        </p:txBody>
      </p:sp>
      <p:sp>
        <p:nvSpPr>
          <p:cNvPr id="757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pPr>
            <a:fld id="{D1BC53FA-377B-4070-9A82-8B10AFC65C68}" type="slidenum">
              <a:rPr lang="en-US" altLang="en-US"/>
              <a:pPr eaLnBrk="1" hangingPunct="1">
                <a:spcBef>
                  <a:spcPct val="0"/>
                </a:spcBef>
              </a:pPr>
              <a:t>52</a:t>
            </a:fld>
            <a:endParaRPr lang="en-US" altLang="en-US" dirty="0"/>
          </a:p>
        </p:txBody>
      </p:sp>
    </p:spTree>
    <p:extLst>
      <p:ext uri="{BB962C8B-B14F-4D97-AF65-F5344CB8AC3E}">
        <p14:creationId xmlns:p14="http://schemas.microsoft.com/office/powerpoint/2010/main" val="4846678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ln/>
        </p:spPr>
      </p:sp>
      <p:sp>
        <p:nvSpPr>
          <p:cNvPr id="768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New Roman" panose="02020603050405020304" pitchFamily="18" charset="0"/>
              <a:cs typeface="Arial" panose="020B0604020202020204" pitchFamily="34" charset="0"/>
            </a:endParaRPr>
          </a:p>
        </p:txBody>
      </p:sp>
      <p:sp>
        <p:nvSpPr>
          <p:cNvPr id="768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pPr>
            <a:fld id="{8A369A14-1DC2-4529-AAFB-78C1D6B2B54C}" type="slidenum">
              <a:rPr lang="en-US" altLang="en-US"/>
              <a:pPr eaLnBrk="1" hangingPunct="1">
                <a:spcBef>
                  <a:spcPct val="0"/>
                </a:spcBef>
              </a:pPr>
              <a:t>53</a:t>
            </a:fld>
            <a:endParaRPr lang="en-US" altLang="en-US" dirty="0"/>
          </a:p>
        </p:txBody>
      </p:sp>
    </p:spTree>
    <p:extLst>
      <p:ext uri="{BB962C8B-B14F-4D97-AF65-F5344CB8AC3E}">
        <p14:creationId xmlns:p14="http://schemas.microsoft.com/office/powerpoint/2010/main" val="35368994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5454063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6211239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903779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0951955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7204990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845180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864177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221962184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8531957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306689547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9059392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40623573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2:1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3181281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8650019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2: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3518690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2: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2804570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2: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143946993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2: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97617332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Shape 25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54" name="Shape 25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37827739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4767223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47672235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4767223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4767223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4767223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Shape 68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85" name="Shape 68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2325784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Shape 67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79" name="Shape 679"/>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t is also referred to as a down sampling layer. In this category, there are also several layer options, with max pooling being the most popular. This basically takes a filter (normally of size 2x2) and a stride of the same length. It then applies it to the input volume and outputs the maximum number in every subregion that the filter convolves arou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s you can imagine, this layer drastically reduces the spatial dimension of the input volume. This serves two main purposes. The first is that the amount of parameters or weights is reduced by 75%, thus lessening the computation cost. The second is that it will control </a:t>
            </a:r>
            <a:r>
              <a:rPr lang="en-US" sz="1200" b="1" i="0" kern="1200" dirty="0">
                <a:solidFill>
                  <a:schemeClr val="tx1"/>
                </a:solidFill>
                <a:effectLst/>
                <a:latin typeface="+mn-lt"/>
                <a:ea typeface="+mn-ea"/>
                <a:cs typeface="+mn-cs"/>
              </a:rPr>
              <a:t>overfitting</a:t>
            </a:r>
          </a:p>
          <a:p>
            <a:pPr lvl="0">
              <a:spcBef>
                <a:spcPts val="0"/>
              </a:spcBef>
              <a:buNone/>
            </a:pPr>
            <a:endParaRPr dirty="0"/>
          </a:p>
        </p:txBody>
      </p:sp>
    </p:spTree>
    <p:extLst>
      <p:ext uri="{BB962C8B-B14F-4D97-AF65-F5344CB8AC3E}">
        <p14:creationId xmlns:p14="http://schemas.microsoft.com/office/powerpoint/2010/main" val="37415604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7"/>
        <p:cNvGrpSpPr/>
        <p:nvPr/>
      </p:nvGrpSpPr>
      <p:grpSpPr>
        <a:xfrm>
          <a:off x="0" y="0"/>
          <a:ext cx="0" cy="0"/>
          <a:chOff x="0" y="0"/>
          <a:chExt cx="0" cy="0"/>
        </a:xfrm>
      </p:grpSpPr>
      <p:sp>
        <p:nvSpPr>
          <p:cNvPr id="698" name="Shape 6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99" name="Shape 699"/>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200" dirty="0"/>
              <a:t>Contains neurons that connect to the entire input volume, as in ordinary Neural Networks</a:t>
            </a:r>
          </a:p>
          <a:p>
            <a:pPr lvl="0" rtl="0">
              <a:spcBef>
                <a:spcPts val="0"/>
              </a:spcBef>
              <a:buNone/>
            </a:pPr>
            <a:endParaRPr dirty="0"/>
          </a:p>
        </p:txBody>
      </p:sp>
    </p:spTree>
    <p:extLst>
      <p:ext uri="{BB962C8B-B14F-4D97-AF65-F5344CB8AC3E}">
        <p14:creationId xmlns:p14="http://schemas.microsoft.com/office/powerpoint/2010/main" val="2762807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1: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466723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2165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73071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6060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1125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56464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77911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1501736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72269853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102335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0529499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60032678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473303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46370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73388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88152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639067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75481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536722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9454524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628046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325765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1787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99350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1469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00483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18206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886091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603834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99571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650016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4420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20602907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453997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26245518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9787257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1002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741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90567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17782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15751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4295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3352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3640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89770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35349637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512298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6322916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6766146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325606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834310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51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5355077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5583616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70079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7578915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835710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144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026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73375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8301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5"/>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9"/>
            <a:ext cx="5285502" cy="27853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9"/>
            <a:ext cx="5285502" cy="27853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82890"/>
            <a:ext cx="2798207" cy="372394"/>
          </a:xfrm>
          <a:prstGeom prst="rect">
            <a:avLst/>
          </a:prstGeom>
        </p:spPr>
        <p:txBody>
          <a:bodyPr/>
          <a:lstStyle/>
          <a:p>
            <a:pPr defTabSz="932418"/>
            <a:fld id="{FCBA4302-AB3A-4B30-AA1E-4FC776169C46}" type="datetimeFigureOut">
              <a:rPr lang="en-US" smtClean="0">
                <a:solidFill>
                  <a:srgbClr val="FFFFFF"/>
                </a:solidFill>
              </a:rPr>
              <a:pPr defTabSz="932418"/>
              <a:t>11/18/2017</a:t>
            </a:fld>
            <a:endParaRPr lang="en-US" dirty="0">
              <a:solidFill>
                <a:srgbClr val="FFFFFF"/>
              </a:solidFill>
            </a:endParaRPr>
          </a:p>
        </p:txBody>
      </p:sp>
      <p:sp>
        <p:nvSpPr>
          <p:cNvPr id="6" name="Footer Placeholder 5"/>
          <p:cNvSpPr>
            <a:spLocks noGrp="1"/>
          </p:cNvSpPr>
          <p:nvPr>
            <p:ph type="ftr" sz="quarter" idx="11"/>
          </p:nvPr>
        </p:nvSpPr>
        <p:spPr>
          <a:xfrm>
            <a:off x="4119583" y="6482890"/>
            <a:ext cx="4197310" cy="372394"/>
          </a:xfrm>
          <a:prstGeom prst="rect">
            <a:avLst/>
          </a:prstGeom>
        </p:spPr>
        <p:txBody>
          <a:bodyPr/>
          <a:lstStyle/>
          <a:p>
            <a:pPr defTabSz="932418"/>
            <a:endParaRPr lang="en-US" dirty="0">
              <a:solidFill>
                <a:srgbClr val="FFFFFF"/>
              </a:solidFill>
            </a:endParaRPr>
          </a:p>
        </p:txBody>
      </p:sp>
      <p:sp>
        <p:nvSpPr>
          <p:cNvPr id="7" name="Slide Number Placeholder 6"/>
          <p:cNvSpPr>
            <a:spLocks noGrp="1"/>
          </p:cNvSpPr>
          <p:nvPr>
            <p:ph type="sldNum" sz="quarter" idx="12"/>
          </p:nvPr>
        </p:nvSpPr>
        <p:spPr>
          <a:xfrm>
            <a:off x="8783260" y="6482890"/>
            <a:ext cx="2798207" cy="372394"/>
          </a:xfrm>
          <a:prstGeom prst="rect">
            <a:avLst/>
          </a:prstGeom>
        </p:spPr>
        <p:txBody>
          <a:bodyPr/>
          <a:lstStyle/>
          <a:p>
            <a:pPr defTabSz="932418"/>
            <a:fld id="{238D2EFD-9BE3-4DA5-8511-61AA80F92140}" type="slidenum">
              <a:rPr lang="en-US" smtClean="0">
                <a:solidFill>
                  <a:srgbClr val="FFFFFF"/>
                </a:solidFill>
              </a:rPr>
              <a:pPr defTabSz="932418"/>
              <a:t>‹#›</a:t>
            </a:fld>
            <a:endParaRPr lang="en-US" dirty="0">
              <a:solidFill>
                <a:srgbClr val="FFFFFF"/>
              </a:solidFill>
            </a:endParaRPr>
          </a:p>
        </p:txBody>
      </p:sp>
    </p:spTree>
    <p:extLst>
      <p:ext uri="{BB962C8B-B14F-4D97-AF65-F5344CB8AC3E}">
        <p14:creationId xmlns:p14="http://schemas.microsoft.com/office/powerpoint/2010/main" val="1935870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11653521" cy="1075884"/>
          </a:xfrm>
        </p:spPr>
        <p:txBody>
          <a:bodyPr lIns="146304" tIns="91440" rIns="146304" bIns="91440"/>
          <a:lstStyle>
            <a:lvl1pPr>
              <a:lnSpc>
                <a:spcPts val="6174"/>
              </a:lnSpc>
              <a:defRPr sz="3999"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1" y="1350546"/>
            <a:ext cx="4358791" cy="4949771"/>
          </a:xfrm>
        </p:spPr>
        <p:txBody>
          <a:bodyPr wrap="square">
            <a:normAutofit/>
          </a:bodyPr>
          <a:lstStyle>
            <a:lvl1pPr marL="0" indent="0">
              <a:lnSpc>
                <a:spcPct val="100000"/>
              </a:lnSpc>
              <a:spcBef>
                <a:spcPts val="1199"/>
              </a:spcBef>
              <a:spcAft>
                <a:spcPts val="1199"/>
              </a:spcAft>
              <a:buClr>
                <a:schemeClr val="tx1"/>
              </a:buClr>
              <a:buFont typeface="Wingdings" pitchFamily="2" charset="2"/>
              <a:buNone/>
              <a:defRPr sz="2400">
                <a:solidFill>
                  <a:schemeClr val="accent1"/>
                </a:solidFill>
              </a:defRPr>
            </a:lvl1pPr>
            <a:lvl2pPr marL="0" indent="0">
              <a:lnSpc>
                <a:spcPct val="100000"/>
              </a:lnSpc>
              <a:spcAft>
                <a:spcPts val="1199"/>
              </a:spcAft>
              <a:buNone/>
              <a:defRPr sz="1960">
                <a:solidFill>
                  <a:schemeClr val="tx1"/>
                </a:solidFill>
              </a:defRPr>
            </a:lvl2pPr>
            <a:lvl3pPr marL="227165" indent="0">
              <a:lnSpc>
                <a:spcPct val="100000"/>
              </a:lnSpc>
              <a:spcAft>
                <a:spcPts val="1199"/>
              </a:spcAft>
              <a:buNone/>
              <a:tabLst/>
              <a:defRPr sz="1960">
                <a:solidFill>
                  <a:schemeClr val="tx1"/>
                </a:solidFill>
              </a:defRPr>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6" y="1350963"/>
            <a:ext cx="7294563" cy="74218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1877">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222293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60787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5"/>
            <a:ext cx="6886900" cy="4923061"/>
          </a:xfrm>
          <a:solidFill>
            <a:schemeClr val="bg1">
              <a:lumMod val="95000"/>
            </a:schemeClr>
          </a:solidFill>
          <a:ln w="63500">
            <a:solidFill>
              <a:schemeClr val="accent4"/>
            </a:solidFill>
            <a:miter lim="800000"/>
          </a:ln>
        </p:spPr>
        <p:txBody>
          <a:bodyPr wrap="square">
            <a:normAutofit/>
          </a:bodyPr>
          <a:lstStyle>
            <a:lvl1pPr marL="0" indent="0" defTabSz="372967">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2967" indent="0" defTabSz="372967">
              <a:lnSpc>
                <a:spcPct val="100000"/>
              </a:lnSpc>
              <a:spcBef>
                <a:spcPts val="0"/>
              </a:spcBef>
              <a:buNone/>
              <a:defRPr sz="1836">
                <a:latin typeface="Consolas" panose="020B0609020204030204" pitchFamily="49" charset="0"/>
                <a:cs typeface="Consolas" panose="020B0609020204030204" pitchFamily="49" charset="0"/>
              </a:defRPr>
            </a:lvl2pPr>
            <a:lvl3pPr marL="745933" indent="0" defTabSz="372967">
              <a:lnSpc>
                <a:spcPct val="100000"/>
              </a:lnSpc>
              <a:spcBef>
                <a:spcPts val="0"/>
              </a:spcBef>
              <a:buNone/>
              <a:tabLst/>
              <a:defRPr sz="1836">
                <a:latin typeface="Consolas" panose="020B0609020204030204" pitchFamily="49" charset="0"/>
                <a:cs typeface="Consolas" panose="020B0609020204030204" pitchFamily="49" charset="0"/>
              </a:defRPr>
            </a:lvl3pPr>
            <a:lvl4pPr marL="1118901" indent="0" defTabSz="372967">
              <a:lnSpc>
                <a:spcPct val="100000"/>
              </a:lnSpc>
              <a:spcBef>
                <a:spcPts val="0"/>
              </a:spcBef>
              <a:buNone/>
              <a:defRPr sz="1836">
                <a:latin typeface="Consolas" panose="020B0609020204030204" pitchFamily="49" charset="0"/>
                <a:cs typeface="Consolas" panose="020B0609020204030204" pitchFamily="49" charset="0"/>
              </a:defRPr>
            </a:lvl4pPr>
            <a:lvl5pPr marL="1491868" indent="0" defTabSz="372967">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grpSp>
      <p:sp>
        <p:nvSpPr>
          <p:cNvPr id="20" name="Text Placeholder 2"/>
          <p:cNvSpPr>
            <a:spLocks noGrp="1"/>
          </p:cNvSpPr>
          <p:nvPr>
            <p:ph type="body" sz="quarter" idx="13" hasCustomPrompt="1"/>
          </p:nvPr>
        </p:nvSpPr>
        <p:spPr>
          <a:xfrm>
            <a:off x="7564439" y="1350964"/>
            <a:ext cx="4598987" cy="1107949"/>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834" indent="0">
              <a:lnSpc>
                <a:spcPct val="100000"/>
              </a:lnSpc>
              <a:spcBef>
                <a:spcPts val="2000"/>
              </a:spcBef>
              <a:buFontTx/>
              <a:buNone/>
              <a:defRPr lang="en-US" sz="1959" b="0" kern="1200" dirty="0" smtClean="0">
                <a:solidFill>
                  <a:schemeClr val="tx1"/>
                </a:solidFill>
                <a:latin typeface="+mn-lt"/>
                <a:ea typeface="ＭＳ Ｐゴシック" charset="0"/>
                <a:cs typeface="Segoe UI Semibold" panose="020B0702040204020203" pitchFamily="34" charset="0"/>
              </a:defRPr>
            </a:lvl2pPr>
            <a:lvl3pPr marL="571390" indent="0">
              <a:lnSpc>
                <a:spcPct val="100000"/>
              </a:lnSpc>
              <a:spcBef>
                <a:spcPts val="2000"/>
              </a:spcBef>
              <a:buFontTx/>
              <a:buNone/>
              <a:defRPr/>
            </a:lvl3pPr>
            <a:lvl4pPr marL="799946" indent="0">
              <a:lnSpc>
                <a:spcPct val="100000"/>
              </a:lnSpc>
              <a:spcBef>
                <a:spcPts val="2000"/>
              </a:spcBef>
              <a:buFontTx/>
              <a:buNone/>
              <a:defRPr/>
            </a:lvl4pPr>
            <a:lvl5pPr marL="1028503" indent="0">
              <a:lnSpc>
                <a:spcPct val="100000"/>
              </a:lnSpc>
              <a:spcBef>
                <a:spcPts val="2000"/>
              </a:spcBef>
              <a:buFontTx/>
              <a:buNone/>
              <a:defRPr/>
            </a:lvl5pPr>
          </a:lstStyle>
          <a:p>
            <a:pPr marL="0" lvl="0" indent="0" algn="l" defTabSz="931684" rtl="0" fontAlgn="base">
              <a:lnSpc>
                <a:spcPct val="100000"/>
              </a:lnSpc>
              <a:spcBef>
                <a:spcPts val="1224"/>
              </a:spcBef>
              <a:spcAft>
                <a:spcPts val="1199"/>
              </a:spcAft>
              <a:buClr>
                <a:schemeClr val="tx1"/>
              </a:buClr>
              <a:buSzPct val="90000"/>
              <a:buFont typeface="Wingdings" pitchFamily="2" charset="2"/>
              <a:buNone/>
            </a:pPr>
            <a:r>
              <a:rPr lang="en-US" dirty="0"/>
              <a:t>Click to edit Master text styles</a:t>
            </a:r>
          </a:p>
          <a:p>
            <a:pPr marL="0" lvl="1" indent="0" algn="l" defTabSz="931684" rtl="0" fontAlgn="base">
              <a:lnSpc>
                <a:spcPct val="100000"/>
              </a:lnSpc>
              <a:spcBef>
                <a:spcPts val="612"/>
              </a:spcBef>
              <a:spcAft>
                <a:spcPts val="1199"/>
              </a:spcAft>
              <a:buSzPct val="90000"/>
              <a:buFont typeface="Arial" charset="0"/>
              <a:buNone/>
            </a:pPr>
            <a:r>
              <a:rPr lang="en-US" dirty="0"/>
              <a:t>Second level</a:t>
            </a:r>
          </a:p>
        </p:txBody>
      </p:sp>
      <p:sp>
        <p:nvSpPr>
          <p:cNvPr id="23" name="Text Placeholder 4"/>
          <p:cNvSpPr>
            <a:spLocks noGrp="1"/>
          </p:cNvSpPr>
          <p:nvPr>
            <p:ph type="body" sz="quarter" idx="14"/>
          </p:nvPr>
        </p:nvSpPr>
        <p:spPr>
          <a:xfrm>
            <a:off x="269241" y="428194"/>
            <a:ext cx="11649456" cy="742187"/>
          </a:xfrm>
        </p:spPr>
        <p:txBody>
          <a:bodyPr lIns="146304" tIns="91440" rIns="146304" bIns="91440" anchor="ctr" anchorCtr="0"/>
          <a:lstStyle>
            <a:lvl1pPr marL="0" indent="0">
              <a:buNone/>
              <a:defRPr sz="3999">
                <a:solidFill>
                  <a:schemeClr val="tx1">
                    <a:lumMod val="90000"/>
                    <a:lumOff val="10000"/>
                  </a:schemeClr>
                </a:solidFill>
              </a:defRPr>
            </a:lvl1pPr>
            <a:lvl5pPr marL="1028503" indent="0">
              <a:buNone/>
              <a:defRPr/>
            </a:lvl5pPr>
          </a:lstStyle>
          <a:p>
            <a:pPr lvl="0"/>
            <a:r>
              <a:rPr lang="en-US"/>
              <a:t>Click to edit Master text styles</a:t>
            </a:r>
          </a:p>
        </p:txBody>
      </p:sp>
    </p:spTree>
    <p:extLst>
      <p:ext uri="{BB962C8B-B14F-4D97-AF65-F5344CB8AC3E}">
        <p14:creationId xmlns:p14="http://schemas.microsoft.com/office/powerpoint/2010/main" val="244676771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11653521" cy="1075884"/>
          </a:xfrm>
        </p:spPr>
        <p:txBody>
          <a:bodyPr lIns="146304" tIns="91440" rIns="146304" bIns="91440"/>
          <a:lstStyle>
            <a:lvl1pPr>
              <a:lnSpc>
                <a:spcPts val="6174"/>
              </a:lnSpc>
              <a:defRPr sz="3999"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6" y="1350963"/>
            <a:ext cx="7294563" cy="74218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9" y="1350963"/>
            <a:ext cx="4598987" cy="3573531"/>
          </a:xfrm>
        </p:spPr>
        <p:txBody>
          <a:bodyPr/>
          <a:lstStyle>
            <a:lvl1pPr marL="0" indent="0">
              <a:lnSpc>
                <a:spcPct val="100000"/>
              </a:lnSpc>
              <a:spcBef>
                <a:spcPts val="2000"/>
              </a:spcBef>
              <a:buFontTx/>
              <a:buNone/>
              <a:defRPr sz="3199">
                <a:solidFill>
                  <a:srgbClr val="C00000"/>
                </a:solidFill>
              </a:defRPr>
            </a:lvl1pPr>
            <a:lvl2pPr marL="342834" indent="0">
              <a:lnSpc>
                <a:spcPct val="100000"/>
              </a:lnSpc>
              <a:spcBef>
                <a:spcPts val="2000"/>
              </a:spcBef>
              <a:buFontTx/>
              <a:buNone/>
              <a:defRPr/>
            </a:lvl2pPr>
            <a:lvl3pPr marL="571390" indent="0">
              <a:lnSpc>
                <a:spcPct val="100000"/>
              </a:lnSpc>
              <a:spcBef>
                <a:spcPts val="2000"/>
              </a:spcBef>
              <a:buFontTx/>
              <a:buNone/>
              <a:defRPr/>
            </a:lvl3pPr>
            <a:lvl4pPr marL="799946" indent="0">
              <a:lnSpc>
                <a:spcPct val="100000"/>
              </a:lnSpc>
              <a:spcBef>
                <a:spcPts val="2000"/>
              </a:spcBef>
              <a:buFontTx/>
              <a:buNone/>
              <a:defRPr/>
            </a:lvl4pPr>
            <a:lvl5pPr marL="1028503"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82764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76666348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26263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pPr defTabSz="932563"/>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4667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rgbClr val="BA141A"/>
                </a:solidFill>
              </a:defRPr>
            </a:lvl1pPr>
          </a:lstStyle>
          <a:p>
            <a:pPr marL="0" lvl="0">
              <a:lnSpc>
                <a:spcPts val="3599"/>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pPr defTabSz="932563"/>
            <a:r>
              <a:rPr lang="en-US"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pPr defTabSz="932563"/>
            <a:fld id="{27258FFF-F925-446B-8502-81C933981705}" type="slidenum">
              <a:rPr lang="en-US" smtClean="0">
                <a:solidFill>
                  <a:srgbClr val="505050">
                    <a:tint val="75000"/>
                  </a:srgbClr>
                </a:solidFill>
              </a:rPr>
              <a:pPr defTabSz="932563"/>
              <a:t>‹#›</a:t>
            </a:fld>
            <a:endParaRPr lang="en-US" dirty="0">
              <a:solidFill>
                <a:srgbClr val="505050">
                  <a:tint val="75000"/>
                </a:srgbClr>
              </a:solidFill>
            </a:endParaRPr>
          </a:p>
        </p:txBody>
      </p:sp>
      <p:sp>
        <p:nvSpPr>
          <p:cNvPr id="8" name="Text Placeholder 7"/>
          <p:cNvSpPr>
            <a:spLocks noGrp="1"/>
          </p:cNvSpPr>
          <p:nvPr>
            <p:ph type="body" sz="quarter" idx="13" hasCustomPrompt="1"/>
          </p:nvPr>
        </p:nvSpPr>
        <p:spPr>
          <a:xfrm>
            <a:off x="274638" y="2125664"/>
            <a:ext cx="9144000" cy="2450084"/>
          </a:xfrm>
        </p:spPr>
        <p:txBody>
          <a:bodyPr/>
          <a:lstStyle>
            <a:lvl1pPr marL="233318" indent="-233318">
              <a:spcBef>
                <a:spcPts val="1199"/>
              </a:spcBef>
              <a:defRPr sz="2400">
                <a:latin typeface="+mn-lt"/>
              </a:defRPr>
            </a:lvl1pPr>
            <a:lvl2pPr marL="690430" indent="-233318">
              <a:spcBef>
                <a:spcPts val="1199"/>
              </a:spcBef>
              <a:buSzPct val="100000"/>
              <a:buFont typeface="Segoe UI" pitchFamily="34" charset="0"/>
              <a:buChar char="‐"/>
              <a:defRPr sz="2000"/>
            </a:lvl2pPr>
            <a:lvl3pPr marL="1147543" indent="-233318">
              <a:spcBef>
                <a:spcPts val="1199"/>
              </a:spcBef>
              <a:buFont typeface="Wingdings" pitchFamily="2" charset="2"/>
              <a:buChar char="§"/>
              <a:defRPr sz="1800"/>
            </a:lvl3pPr>
            <a:lvl4pPr marL="1599893" indent="-342834">
              <a:spcBef>
                <a:spcPts val="1199"/>
              </a:spcBef>
              <a:buFont typeface="+mj-lt"/>
              <a:buAutoNum type="arabicPeriod"/>
              <a:defRPr sz="1599"/>
            </a:lvl4pPr>
            <a:lvl5pPr marL="1945901" indent="-342834">
              <a:spcBef>
                <a:spcPts val="1199"/>
              </a:spcBef>
              <a:buFont typeface="+mj-lt"/>
              <a:buAutoNum type="alphaLcParenR"/>
              <a:defRPr sz="1599"/>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571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6857796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pPr defTabSz="932563"/>
            <a:r>
              <a:rPr lang="en-US"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pPr defTabSz="932563"/>
            <a:fld id="{27258FFF-F925-446B-8502-81C933981705}" type="slidenum">
              <a:rPr lang="en-US" smtClean="0"/>
              <a:pPr defTabSz="932563"/>
              <a:t>‹#›</a:t>
            </a:fld>
            <a:endParaRPr lang="en-US" dirty="0"/>
          </a:p>
        </p:txBody>
      </p:sp>
    </p:spTree>
    <p:extLst>
      <p:ext uri="{BB962C8B-B14F-4D97-AF65-F5344CB8AC3E}">
        <p14:creationId xmlns:p14="http://schemas.microsoft.com/office/powerpoint/2010/main" val="42571464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0174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197175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17443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66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003873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31517132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BA20098-320B-459E-801E-54E5791438C8}" type="slidenum">
              <a:rPr lang="en-US" smtClean="0"/>
              <a:t>‹#›</a:t>
            </a:fld>
            <a:endParaRPr lang="en-US" dirty="0"/>
          </a:p>
        </p:txBody>
      </p:sp>
    </p:spTree>
    <p:extLst>
      <p:ext uri="{BB962C8B-B14F-4D97-AF65-F5344CB8AC3E}">
        <p14:creationId xmlns:p14="http://schemas.microsoft.com/office/powerpoint/2010/main" val="36121260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23934" y="605180"/>
            <a:ext cx="11588608" cy="778801"/>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23934" y="1567223"/>
            <a:ext cx="11588608" cy="738633"/>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523130" y="6341398"/>
            <a:ext cx="746270" cy="535247"/>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4564596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BA20098-320B-459E-801E-54E5791438C8}" type="slidenum">
              <a:rPr lang="en-US" smtClean="0"/>
              <a:t>‹#›</a:t>
            </a:fld>
            <a:endParaRPr lang="en-US" dirty="0"/>
          </a:p>
        </p:txBody>
      </p:sp>
    </p:spTree>
    <p:extLst>
      <p:ext uri="{BB962C8B-B14F-4D97-AF65-F5344CB8AC3E}">
        <p14:creationId xmlns:p14="http://schemas.microsoft.com/office/powerpoint/2010/main" val="1815968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1299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8.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1.bin"/><Relationship Id="rId2" Type="http://schemas.openxmlformats.org/officeDocument/2006/relationships/slideLayout" Target="../slideLayouts/slideLayout18.xml"/><Relationship Id="rId16" Type="http://schemas.openxmlformats.org/officeDocument/2006/relationships/tags" Target="../tags/tag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vmlDrawing" Target="../drawings/vmlDrawing1.v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10" Type="http://schemas.openxmlformats.org/officeDocument/2006/relationships/image" Target="../media/image1.png"/><Relationship Id="rId4" Type="http://schemas.openxmlformats.org/officeDocument/2006/relationships/slideLayout" Target="../slideLayouts/slideLayout81.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1" r:id="rId1"/>
    <p:sldLayoutId id="2147484247" r:id="rId2"/>
    <p:sldLayoutId id="2147484256" r:id="rId3"/>
    <p:sldLayoutId id="2147484268" r:id="rId4"/>
    <p:sldLayoutId id="2147484416" r:id="rId5"/>
    <p:sldLayoutId id="2147484417" r:id="rId6"/>
    <p:sldLayoutId id="2147484418"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7963894"/>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441978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3"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513"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960184084"/>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53036"/>
      </p:ext>
    </p:extLst>
  </p:cSld>
  <p:clrMap bg1="dk1" tx1="lt1" bg2="dk2" tx2="lt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9732728"/>
      </p:ext>
    </p:extLst>
  </p:cSld>
  <p:clrMap bg1="dk1" tx1="lt1" bg2="dk2" tx2="lt2" accent1="accent1" accent2="accent2" accent3="accent3" accent4="accent4" accent5="accent5" accent6="accent6" hlink="hlink" folHlink="folHlink"/>
  <p:sldLayoutIdLst>
    <p:sldLayoutId id="2147484523" r:id="rId1"/>
    <p:sldLayoutId id="2147484524" r:id="rId2"/>
    <p:sldLayoutId id="2147484525" r:id="rId3"/>
    <p:sldLayoutId id="2147484526" r:id="rId4"/>
    <p:sldLayoutId id="2147484527" r:id="rId5"/>
    <p:sldLayoutId id="2147484528" r:id="rId6"/>
    <p:sldLayoutId id="2147484529" r:id="rId7"/>
    <p:sldLayoutId id="2147484530" r:id="rId8"/>
    <p:sldLayoutId id="2147484531" r:id="rId9"/>
    <p:sldLayoutId id="2147484532" r:id="rId10"/>
    <p:sldLayoutId id="2147484533" r:id="rId11"/>
    <p:sldLayoutId id="2147484534" r:id="rId12"/>
    <p:sldLayoutId id="2147484535" r:id="rId13"/>
    <p:sldLayoutId id="2147484536" r:id="rId14"/>
    <p:sldLayoutId id="2147484537" r:id="rId15"/>
    <p:sldLayoutId id="2147484538" r:id="rId16"/>
    <p:sldLayoutId id="2147484539" r:id="rId17"/>
    <p:sldLayoutId id="2147484540" r:id="rId18"/>
    <p:sldLayoutId id="2147484541" r:id="rId19"/>
    <p:sldLayoutId id="2147484542" r:id="rId20"/>
    <p:sldLayoutId id="2147484543" r:id="rId21"/>
    <p:sldLayoutId id="2147484544" r:id="rId22"/>
    <p:sldLayoutId id="2147484545" r:id="rId23"/>
    <p:sldLayoutId id="2147484546" r:id="rId24"/>
    <p:sldLayoutId id="2147484547" r:id="rId25"/>
    <p:sldLayoutId id="2147484548" r:id="rId26"/>
    <p:sldLayoutId id="2147484549" r:id="rId27"/>
    <p:sldLayoutId id="2147484550" r:id="rId28"/>
    <p:sldLayoutId id="2147484551" r:id="rId2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0"/>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1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47811090"/>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60" r:id="rId6"/>
    <p:sldLayoutId id="2147484561" r:id="rId7"/>
    <p:sldLayoutId id="2147484562"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79.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80.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83.xml"/><Relationship Id="rId6" Type="http://schemas.openxmlformats.org/officeDocument/2006/relationships/image" Target="../media/image20.png"/><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83.xml"/><Relationship Id="rId6" Type="http://schemas.openxmlformats.org/officeDocument/2006/relationships/image" Target="../media/image20.png"/><Relationship Id="rId5" Type="http://schemas.openxmlformats.org/officeDocument/2006/relationships/image" Target="../media/image29.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0.xml"/><Relationship Id="rId1" Type="http://schemas.openxmlformats.org/officeDocument/2006/relationships/slideLayout" Target="../slideLayouts/slideLayout83.xml"/><Relationship Id="rId6" Type="http://schemas.openxmlformats.org/officeDocument/2006/relationships/image" Target="../media/image20.png"/><Relationship Id="rId5" Type="http://schemas.openxmlformats.org/officeDocument/2006/relationships/image" Target="../media/image32.png"/><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1.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83.xml"/><Relationship Id="rId5" Type="http://schemas.openxmlformats.org/officeDocument/2006/relationships/image" Target="../media/image20.png"/><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5.xml"/><Relationship Id="rId1" Type="http://schemas.openxmlformats.org/officeDocument/2006/relationships/slideLayout" Target="../slideLayouts/slideLayout83.xml"/><Relationship Id="rId5" Type="http://schemas.openxmlformats.org/officeDocument/2006/relationships/image" Target="../media/image20.png"/><Relationship Id="rId4" Type="http://schemas.openxmlformats.org/officeDocument/2006/relationships/image" Target="../media/image31.png"/></Relationships>
</file>

<file path=ppt/slides/_rels/slide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6.xml"/><Relationship Id="rId1" Type="http://schemas.openxmlformats.org/officeDocument/2006/relationships/slideLayout" Target="../slideLayouts/slideLayout83.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7.xml"/><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8.xml"/><Relationship Id="rId1" Type="http://schemas.openxmlformats.org/officeDocument/2006/relationships/slideLayout" Target="../slideLayouts/slideLayout83.xml"/></Relationships>
</file>

<file path=ppt/slides/_rels/slide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9.xml"/><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79.xml"/><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0.xml"/><Relationship Id="rId1" Type="http://schemas.openxmlformats.org/officeDocument/2006/relationships/slideLayout" Target="../slideLayouts/slideLayout83.xml"/></Relationships>
</file>

<file path=ppt/slides/_rels/slide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1.xml"/><Relationship Id="rId1" Type="http://schemas.openxmlformats.org/officeDocument/2006/relationships/slideLayout" Target="../slideLayouts/slideLayout83.xml"/></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2.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3.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4.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5.xml"/><Relationship Id="rId1" Type="http://schemas.openxmlformats.org/officeDocument/2006/relationships/slideLayout" Target="../slideLayouts/slideLayout83.xml"/><Relationship Id="rId6" Type="http://schemas.openxmlformats.org/officeDocument/2006/relationships/image" Target="../media/image36.png"/><Relationship Id="rId5" Type="http://schemas.openxmlformats.org/officeDocument/2006/relationships/image" Target="../media/image20.png"/><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6.xml"/><Relationship Id="rId1" Type="http://schemas.openxmlformats.org/officeDocument/2006/relationships/slideLayout" Target="../slideLayouts/slideLayout8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20.png"/></Relationships>
</file>

<file path=ppt/slides/_rels/slide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7.xml"/><Relationship Id="rId1" Type="http://schemas.openxmlformats.org/officeDocument/2006/relationships/slideLayout" Target="../slideLayouts/slideLayout83.xml"/><Relationship Id="rId5" Type="http://schemas.openxmlformats.org/officeDocument/2006/relationships/image" Target="../media/image38.png"/><Relationship Id="rId4" Type="http://schemas.openxmlformats.org/officeDocument/2006/relationships/image" Target="../media/image36.png"/></Relationships>
</file>

<file path=ppt/slides/_rels/slide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8.xml"/><Relationship Id="rId1" Type="http://schemas.openxmlformats.org/officeDocument/2006/relationships/slideLayout" Target="../slideLayouts/slideLayout83.xml"/><Relationship Id="rId5" Type="http://schemas.openxmlformats.org/officeDocument/2006/relationships/image" Target="../media/image38.png"/><Relationship Id="rId4" Type="http://schemas.openxmlformats.org/officeDocument/2006/relationships/image" Target="../media/image36.png"/></Relationships>
</file>

<file path=ppt/slides/_rels/slide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9.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83.xml"/></Relationships>
</file>

<file path=ppt/slides/_rels/slide5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1.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2.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3.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4.xml"/><Relationship Id="rId1" Type="http://schemas.openxmlformats.org/officeDocument/2006/relationships/slideLayout" Target="../slideLayouts/slideLayout83.xml"/><Relationship Id="rId5" Type="http://schemas.openxmlformats.org/officeDocument/2006/relationships/image" Target="../media/image20.png"/><Relationship Id="rId4" Type="http://schemas.openxmlformats.org/officeDocument/2006/relationships/image" Target="../media/image41.png"/></Relationships>
</file>

<file path=ppt/slides/_rels/slide5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5.xml"/><Relationship Id="rId1" Type="http://schemas.openxmlformats.org/officeDocument/2006/relationships/slideLayout" Target="../slideLayouts/slideLayout83.xml"/><Relationship Id="rId5" Type="http://schemas.openxmlformats.org/officeDocument/2006/relationships/image" Target="../media/image20.png"/><Relationship Id="rId4" Type="http://schemas.openxmlformats.org/officeDocument/2006/relationships/image" Target="../media/image43.png"/></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6.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7.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8.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5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9.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9.xml"/></Relationships>
</file>

<file path=ppt/slides/_rels/slide6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0.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6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1.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6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2.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6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3.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6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4.xml"/><Relationship Id="rId1" Type="http://schemas.openxmlformats.org/officeDocument/2006/relationships/slideLayout" Target="../slideLayouts/slideLayout83.xml"/><Relationship Id="rId4" Type="http://schemas.openxmlformats.org/officeDocument/2006/relationships/image" Target="../media/image20.png"/></Relationships>
</file>

<file path=ppt/slides/_rels/slide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5.xml"/><Relationship Id="rId1" Type="http://schemas.openxmlformats.org/officeDocument/2006/relationships/slideLayout" Target="../slideLayouts/slideLayout83.xml"/></Relationships>
</file>

<file path=ppt/slides/_rels/slide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6.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7.xml"/><Relationship Id="rId1" Type="http://schemas.openxmlformats.org/officeDocument/2006/relationships/slideLayout" Target="../slideLayouts/slideLayout79.xml"/><Relationship Id="rId4" Type="http://schemas.openxmlformats.org/officeDocument/2006/relationships/image" Target="../media/image46.png"/></Relationships>
</file>

<file path=ppt/slides/_rels/slide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8.xml"/><Relationship Id="rId1" Type="http://schemas.openxmlformats.org/officeDocument/2006/relationships/slideLayout" Target="../slideLayouts/slideLayout79.xml"/></Relationships>
</file>

<file path=ppt/slides/_rels/slide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9.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79.xml"/></Relationships>
</file>

<file path=ppt/slides/_rels/slide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0.xml"/><Relationship Id="rId1" Type="http://schemas.openxmlformats.org/officeDocument/2006/relationships/slideLayout" Target="../slideLayouts/slideLayout79.xml"/></Relationships>
</file>

<file path=ppt/slides/_rels/slide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1.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72.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20.png"/><Relationship Id="rId2" Type="http://schemas.openxmlformats.org/officeDocument/2006/relationships/notesSlide" Target="../notesSlides/notesSlide72.xml"/><Relationship Id="rId1" Type="http://schemas.openxmlformats.org/officeDocument/2006/relationships/slideLayout" Target="../slideLayouts/slideLayout85.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3.xml"/><Relationship Id="rId1" Type="http://schemas.openxmlformats.org/officeDocument/2006/relationships/slideLayout" Target="../slideLayouts/slideLayout79.xml"/><Relationship Id="rId5" Type="http://schemas.openxmlformats.org/officeDocument/2006/relationships/image" Target="../media/image52.png"/><Relationship Id="rId4" Type="http://schemas.openxmlformats.org/officeDocument/2006/relationships/image" Target="../media/image51.png"/></Relationships>
</file>

<file path=ppt/slides/_rels/slide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4.xml"/><Relationship Id="rId1" Type="http://schemas.openxmlformats.org/officeDocument/2006/relationships/slideLayout" Target="../slideLayouts/slideLayout79.xml"/></Relationships>
</file>

<file path=ppt/slides/_rels/slide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5.xml"/><Relationship Id="rId1" Type="http://schemas.openxmlformats.org/officeDocument/2006/relationships/slideLayout" Target="../slideLayouts/slideLayout79.xml"/></Relationships>
</file>

<file path=ppt/slides/_rels/slide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6.xml"/><Relationship Id="rId1" Type="http://schemas.openxmlformats.org/officeDocument/2006/relationships/slideLayout" Target="../slideLayouts/slideLayout79.xml"/><Relationship Id="rId4" Type="http://schemas.openxmlformats.org/officeDocument/2006/relationships/image" Target="../media/image53.png"/></Relationships>
</file>

<file path=ppt/slides/_rels/slide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7.xml"/><Relationship Id="rId1" Type="http://schemas.openxmlformats.org/officeDocument/2006/relationships/slideLayout" Target="../slideLayouts/slideLayout79.xml"/><Relationship Id="rId5" Type="http://schemas.openxmlformats.org/officeDocument/2006/relationships/image" Target="../media/image55.png"/><Relationship Id="rId4" Type="http://schemas.openxmlformats.org/officeDocument/2006/relationships/image" Target="../media/image54.png"/></Relationships>
</file>

<file path=ppt/slides/_rels/slide78.xml.rels><?xml version="1.0" encoding="UTF-8" standalone="yes"?>
<Relationships xmlns="http://schemas.openxmlformats.org/package/2006/relationships"><Relationship Id="rId3" Type="http://schemas.openxmlformats.org/officeDocument/2006/relationships/image" Target="../media/image550.png"/><Relationship Id="rId2" Type="http://schemas.openxmlformats.org/officeDocument/2006/relationships/notesSlide" Target="../notesSlides/notesSlide78.xml"/><Relationship Id="rId1" Type="http://schemas.openxmlformats.org/officeDocument/2006/relationships/slideLayout" Target="../slideLayouts/slideLayout79.xml"/><Relationship Id="rId5" Type="http://schemas.openxmlformats.org/officeDocument/2006/relationships/image" Target="../media/image56.png"/><Relationship Id="rId4" Type="http://schemas.openxmlformats.org/officeDocument/2006/relationships/image" Target="../media/image20.png"/></Relationships>
</file>

<file path=ppt/slides/_rels/slide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9.xml"/><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79.xml"/><Relationship Id="rId4" Type="http://schemas.openxmlformats.org/officeDocument/2006/relationships/image" Target="../media/image23.png"/></Relationships>
</file>

<file path=ppt/slides/_rels/slide8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0.xml"/><Relationship Id="rId1" Type="http://schemas.openxmlformats.org/officeDocument/2006/relationships/slideLayout" Target="../slideLayouts/slideLayout84.xml"/><Relationship Id="rId4" Type="http://schemas.openxmlformats.org/officeDocument/2006/relationships/image" Target="../media/image20.png"/></Relationships>
</file>

<file path=ppt/slides/_rels/slide8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1.xml"/><Relationship Id="rId1" Type="http://schemas.openxmlformats.org/officeDocument/2006/relationships/slideLayout" Target="../slideLayouts/slideLayout79.xml"/><Relationship Id="rId4" Type="http://schemas.openxmlformats.org/officeDocument/2006/relationships/image" Target="../media/image58.png"/></Relationships>
</file>

<file path=ppt/slides/_rels/slide82.xml.rels><?xml version="1.0" encoding="UTF-8" standalone="yes"?>
<Relationships xmlns="http://schemas.openxmlformats.org/package/2006/relationships"><Relationship Id="rId3" Type="http://schemas.openxmlformats.org/officeDocument/2006/relationships/image" Target="../media/image590.png"/><Relationship Id="rId2" Type="http://schemas.openxmlformats.org/officeDocument/2006/relationships/notesSlide" Target="../notesSlides/notesSlide82.xml"/><Relationship Id="rId1" Type="http://schemas.openxmlformats.org/officeDocument/2006/relationships/slideLayout" Target="../slideLayouts/slideLayout79.xml"/><Relationship Id="rId6" Type="http://schemas.openxmlformats.org/officeDocument/2006/relationships/image" Target="../media/image60.png"/><Relationship Id="rId5" Type="http://schemas.openxmlformats.org/officeDocument/2006/relationships/image" Target="../media/image440.png"/><Relationship Id="rId4" Type="http://schemas.openxmlformats.org/officeDocument/2006/relationships/image" Target="../media/image20.png"/></Relationships>
</file>

<file path=ppt/slides/_rels/slide8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3.xml"/><Relationship Id="rId1" Type="http://schemas.openxmlformats.org/officeDocument/2006/relationships/slideLayout" Target="../slideLayouts/slideLayout79.xml"/><Relationship Id="rId4" Type="http://schemas.openxmlformats.org/officeDocument/2006/relationships/image" Target="../media/image20.png"/></Relationships>
</file>

<file path=ppt/slides/_rels/slide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4.xml"/><Relationship Id="rId1" Type="http://schemas.openxmlformats.org/officeDocument/2006/relationships/slideLayout" Target="../slideLayouts/slideLayout79.xml"/><Relationship Id="rId4" Type="http://schemas.openxmlformats.org/officeDocument/2006/relationships/image" Target="../media/image59.png"/></Relationships>
</file>

<file path=ppt/slides/_rels/slide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5.xml"/><Relationship Id="rId1" Type="http://schemas.openxmlformats.org/officeDocument/2006/relationships/slideLayout" Target="../slideLayouts/slideLayout79.xml"/><Relationship Id="rId4" Type="http://schemas.openxmlformats.org/officeDocument/2006/relationships/image" Target="../media/image62.png"/></Relationships>
</file>

<file path=ppt/slides/_rels/slide8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6.xml"/><Relationship Id="rId1" Type="http://schemas.openxmlformats.org/officeDocument/2006/relationships/slideLayout" Target="../slideLayouts/slideLayout79.xml"/><Relationship Id="rId4" Type="http://schemas.openxmlformats.org/officeDocument/2006/relationships/image" Target="../media/image20.png"/></Relationships>
</file>

<file path=ppt/slides/_rels/slide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7.xml"/><Relationship Id="rId1" Type="http://schemas.openxmlformats.org/officeDocument/2006/relationships/slideLayout" Target="../slideLayouts/slideLayout79.xml"/><Relationship Id="rId4" Type="http://schemas.openxmlformats.org/officeDocument/2006/relationships/image" Target="../media/image63.png"/></Relationships>
</file>

<file path=ppt/slides/_rels/slide8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8.xml"/><Relationship Id="rId1" Type="http://schemas.openxmlformats.org/officeDocument/2006/relationships/slideLayout" Target="../slideLayouts/slideLayout84.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79.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1200265" cy="1984408"/>
          </a:xfrm>
        </p:spPr>
        <p:txBody>
          <a:bodyPr>
            <a:normAutofit/>
          </a:bodyPr>
          <a:lstStyle/>
          <a:p>
            <a:pPr>
              <a:spcAft>
                <a:spcPts val="600"/>
              </a:spcAft>
            </a:pPr>
            <a:r>
              <a:rPr lang="en-US" sz="7000" b="1" dirty="0">
                <a:solidFill>
                  <a:schemeClr val="bg1"/>
                </a:solidFill>
              </a:rPr>
              <a:t>Deep Learning</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33834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1200265" cy="1984408"/>
          </a:xfrm>
        </p:spPr>
        <p:txBody>
          <a:bodyPr>
            <a:normAutofit/>
          </a:bodyPr>
          <a:lstStyle/>
          <a:p>
            <a:pPr>
              <a:spcAft>
                <a:spcPts val="600"/>
              </a:spcAft>
            </a:pPr>
            <a:r>
              <a:rPr lang="en-US" sz="7000" b="1" dirty="0">
                <a:solidFill>
                  <a:schemeClr val="bg1"/>
                </a:solidFill>
              </a:rPr>
              <a:t>Traditional vs Deep Learning</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3818723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raditional Approach</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22"/>
          <p:cNvSpPr txBox="1">
            <a:spLocks/>
          </p:cNvSpPr>
          <p:nvPr/>
        </p:nvSpPr>
        <p:spPr>
          <a:xfrm>
            <a:off x="525414" y="1425160"/>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0" algn="just">
              <a:buNone/>
            </a:pPr>
            <a:r>
              <a:rPr lang="en-US" sz="3200" dirty="0">
                <a:solidFill>
                  <a:schemeClr val="tx1">
                    <a:lumMod val="75000"/>
                    <a:lumOff val="25000"/>
                  </a:schemeClr>
                </a:solidFill>
                <a:latin typeface="+mj-lt"/>
              </a:rPr>
              <a:t>Feature extractors, required:</a:t>
            </a:r>
          </a:p>
          <a:p>
            <a:pPr lvl="1" algn="just"/>
            <a:r>
              <a:rPr lang="en-US" sz="3200" dirty="0">
                <a:solidFill>
                  <a:schemeClr val="tx1">
                    <a:lumMod val="75000"/>
                    <a:lumOff val="25000"/>
                  </a:schemeClr>
                </a:solidFill>
                <a:latin typeface="+mj-lt"/>
              </a:rPr>
              <a:t>Expert knowledge</a:t>
            </a:r>
          </a:p>
          <a:p>
            <a:pPr lvl="1" algn="just"/>
            <a:r>
              <a:rPr lang="en-US" sz="3200" dirty="0">
                <a:solidFill>
                  <a:schemeClr val="tx1">
                    <a:lumMod val="75000"/>
                    <a:lumOff val="25000"/>
                  </a:schemeClr>
                </a:solidFill>
                <a:latin typeface="+mj-lt"/>
              </a:rPr>
              <a:t>Time-consuming hand-tuning</a:t>
            </a:r>
          </a:p>
          <a:p>
            <a:pPr lvl="1" algn="just"/>
            <a:r>
              <a:rPr lang="en-US" sz="3200" dirty="0">
                <a:solidFill>
                  <a:schemeClr val="tx1">
                    <a:lumMod val="75000"/>
                    <a:lumOff val="25000"/>
                  </a:schemeClr>
                </a:solidFill>
                <a:latin typeface="+mj-lt"/>
              </a:rPr>
              <a:t>In industrial applications, this 90% of the time</a:t>
            </a:r>
          </a:p>
          <a:p>
            <a:pPr lvl="1" algn="just"/>
            <a:r>
              <a:rPr lang="en-US" sz="3200" dirty="0">
                <a:solidFill>
                  <a:schemeClr val="tx1">
                    <a:lumMod val="75000"/>
                    <a:lumOff val="25000"/>
                  </a:schemeClr>
                </a:solidFill>
                <a:latin typeface="+mj-lt"/>
              </a:rPr>
              <a:t>Sometimes are problem specific</a:t>
            </a:r>
          </a:p>
          <a:p>
            <a:pPr lvl="1" algn="just"/>
            <a:endParaRPr lang="en-US" sz="3200" dirty="0">
              <a:solidFill>
                <a:schemeClr val="tx1">
                  <a:lumMod val="75000"/>
                  <a:lumOff val="25000"/>
                </a:schemeClr>
              </a:solidFill>
              <a:latin typeface="+mj-lt"/>
            </a:endParaRPr>
          </a:p>
          <a:p>
            <a:pPr marL="342900" lvl="1" indent="0" algn="just">
              <a:buNone/>
            </a:pPr>
            <a:r>
              <a:rPr lang="en-US" sz="3200" dirty="0">
                <a:solidFill>
                  <a:schemeClr val="tx1">
                    <a:lumMod val="75000"/>
                    <a:lumOff val="25000"/>
                  </a:schemeClr>
                </a:solidFill>
                <a:latin typeface="+mj-lt"/>
              </a:rPr>
              <a:t>But, what if we could learn feature extractors ?</a:t>
            </a:r>
          </a:p>
          <a:p>
            <a:pPr marL="342900" lvl="1" indent="0" algn="just">
              <a:buNone/>
            </a:pPr>
            <a:endParaRPr lang="en-US" sz="3200" dirty="0">
              <a:solidFill>
                <a:schemeClr val="tx1">
                  <a:lumMod val="75000"/>
                  <a:lumOff val="25000"/>
                </a:schemeClr>
              </a:solidFill>
            </a:endParaRPr>
          </a:p>
        </p:txBody>
      </p:sp>
    </p:spTree>
    <p:extLst>
      <p:ext uri="{BB962C8B-B14F-4D97-AF65-F5344CB8AC3E}">
        <p14:creationId xmlns:p14="http://schemas.microsoft.com/office/powerpoint/2010/main" val="79771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 calcmode="lin" valueType="num">
                                      <p:cBhvr additive="base">
                                        <p:cTn id="25"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anim calcmode="lin" valueType="num">
                                      <p:cBhvr additive="base">
                                        <p:cTn id="31"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500" fill="hold"/>
                                        <p:tgtEl>
                                          <p:spTgt spid="7">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7">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raditional Approach vs Deep Learning</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06512" y="90994"/>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4">
            <a:extLst>
              <a:ext uri="{FF2B5EF4-FFF2-40B4-BE49-F238E27FC236}">
                <a16:creationId xmlns:a16="http://schemas.microsoft.com/office/drawing/2014/main" id="{DBC0DA0E-3EDD-4146-8135-79E6C9015E43}"/>
              </a:ext>
            </a:extLst>
          </p:cNvPr>
          <p:cNvSpPr txBox="1">
            <a:spLocks/>
          </p:cNvSpPr>
          <p:nvPr/>
        </p:nvSpPr>
        <p:spPr>
          <a:xfrm>
            <a:off x="6446922" y="2006623"/>
            <a:ext cx="5485621" cy="4652052"/>
          </a:xfrm>
          <a:prstGeom prst="rect">
            <a:avLst/>
          </a:prstGeom>
          <a:solidFill>
            <a:schemeClr val="bg1"/>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base">
              <a:buFont typeface="Arial" pitchFamily="34" charset="0"/>
              <a:buNone/>
            </a:pPr>
            <a:r>
              <a:rPr lang="en-US" sz="3672"/>
              <a:t> Deep learning can automatically learn features in data​</a:t>
            </a:r>
          </a:p>
          <a:p>
            <a:pPr marL="0" indent="0" fontAlgn="base">
              <a:buFont typeface="Arial" pitchFamily="34" charset="0"/>
              <a:buNone/>
            </a:pPr>
            <a:endParaRPr lang="en-US" sz="3672"/>
          </a:p>
          <a:p>
            <a:pPr marL="0" indent="0" fontAlgn="base">
              <a:buFont typeface="Arial" pitchFamily="34" charset="0"/>
              <a:buNone/>
            </a:pPr>
            <a:r>
              <a:rPr lang="en-US" sz="3672"/>
              <a:t> Deep learning is largely a "black box" technique, updating learned weights at each layer</a:t>
            </a:r>
            <a:endParaRPr lang="en-US" sz="3672" dirty="0"/>
          </a:p>
        </p:txBody>
      </p:sp>
      <p:sp>
        <p:nvSpPr>
          <p:cNvPr id="10" name="Text Placeholder 1">
            <a:extLst>
              <a:ext uri="{FF2B5EF4-FFF2-40B4-BE49-F238E27FC236}">
                <a16:creationId xmlns:a16="http://schemas.microsoft.com/office/drawing/2014/main" id="{9985ABFF-BAD0-41C7-8765-55B59E603001}"/>
              </a:ext>
            </a:extLst>
          </p:cNvPr>
          <p:cNvSpPr txBox="1">
            <a:spLocks/>
          </p:cNvSpPr>
          <p:nvPr/>
        </p:nvSpPr>
        <p:spPr>
          <a:xfrm>
            <a:off x="456150" y="2006622"/>
            <a:ext cx="5485621" cy="4133326"/>
          </a:xfrm>
          <a:prstGeom prst="rect">
            <a:avLst/>
          </a:prstGeom>
          <a:solidFill>
            <a:schemeClr val="bg1"/>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3672"/>
              <a:t>Traditional ML requires manual feature extraction/engineering</a:t>
            </a:r>
          </a:p>
          <a:p>
            <a:pPr marL="0" indent="0">
              <a:buFont typeface="Arial" pitchFamily="34" charset="0"/>
              <a:buNone/>
            </a:pPr>
            <a:endParaRPr lang="en-US" sz="3672"/>
          </a:p>
          <a:p>
            <a:pPr marL="0" indent="0">
              <a:buFont typeface="Arial" pitchFamily="34" charset="0"/>
              <a:buNone/>
            </a:pPr>
            <a:r>
              <a:rPr lang="en-US" sz="3672"/>
              <a:t>Feature extraction for unstructured data is very difficult</a:t>
            </a:r>
            <a:endParaRPr lang="en-US" sz="3672" dirty="0"/>
          </a:p>
        </p:txBody>
      </p:sp>
      <p:cxnSp>
        <p:nvCxnSpPr>
          <p:cNvPr id="3" name="Straight Connector 2">
            <a:extLst>
              <a:ext uri="{FF2B5EF4-FFF2-40B4-BE49-F238E27FC236}">
                <a16:creationId xmlns:a16="http://schemas.microsoft.com/office/drawing/2014/main" id="{DD176303-09DC-439B-A035-BBBB250F77EC}"/>
              </a:ext>
            </a:extLst>
          </p:cNvPr>
          <p:cNvCxnSpPr/>
          <p:nvPr/>
        </p:nvCxnSpPr>
        <p:spPr>
          <a:xfrm flipV="1">
            <a:off x="5941771" y="1654629"/>
            <a:ext cx="0" cy="5339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15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2145632" cy="1984408"/>
          </a:xfrm>
        </p:spPr>
        <p:txBody>
          <a:bodyPr>
            <a:normAutofit fontScale="90000"/>
          </a:bodyPr>
          <a:lstStyle/>
          <a:p>
            <a:pPr>
              <a:spcAft>
                <a:spcPts val="600"/>
              </a:spcAft>
            </a:pPr>
            <a:r>
              <a:rPr lang="en-US" sz="7000" b="1" dirty="0">
                <a:solidFill>
                  <a:schemeClr val="bg1"/>
                </a:solidFill>
              </a:rPr>
              <a:t>When does Deep Learning work better than Traditional Approaches?</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116803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txBox="1">
            <a:spLocks/>
          </p:cNvSpPr>
          <p:nvPr/>
        </p:nvSpPr>
        <p:spPr>
          <a:xfrm>
            <a:off x="520759" y="358645"/>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5400" b="1" dirty="0">
              <a:latin typeface="+mn-lt"/>
            </a:endParaRPr>
          </a:p>
        </p:txBody>
      </p:sp>
      <p:sp>
        <p:nvSpPr>
          <p:cNvPr id="7" name="TextBox 6"/>
          <p:cNvSpPr txBox="1"/>
          <p:nvPr/>
        </p:nvSpPr>
        <p:spPr>
          <a:xfrm>
            <a:off x="591469" y="1323772"/>
            <a:ext cx="11277600" cy="523220"/>
          </a:xfrm>
          <a:prstGeom prst="rect">
            <a:avLst/>
          </a:prstGeom>
          <a:noFill/>
        </p:spPr>
        <p:txBody>
          <a:bodyPr wrap="square" rtlCol="0">
            <a:spAutoFit/>
          </a:bodyPr>
          <a:lstStyle/>
          <a:p>
            <a:endParaRPr lang="en-US" sz="2800" dirty="0">
              <a:latin typeface="+mj-lt"/>
            </a:endParaRPr>
          </a:p>
        </p:txBody>
      </p:sp>
      <p:sp>
        <p:nvSpPr>
          <p:cNvPr id="9" name="Title 2"/>
          <p:cNvSpPr txBox="1">
            <a:spLocks/>
          </p:cNvSpPr>
          <p:nvPr/>
        </p:nvSpPr>
        <p:spPr>
          <a:xfrm>
            <a:off x="504716" y="246351"/>
            <a:ext cx="11931759" cy="83182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5200" b="1" dirty="0"/>
              <a:t>Start Simple</a:t>
            </a:r>
          </a:p>
        </p:txBody>
      </p:sp>
      <p:sp>
        <p:nvSpPr>
          <p:cNvPr id="13" name="TextBox 12"/>
          <p:cNvSpPr txBox="1"/>
          <p:nvPr/>
        </p:nvSpPr>
        <p:spPr>
          <a:xfrm>
            <a:off x="591469" y="1323772"/>
            <a:ext cx="11277600" cy="3785652"/>
          </a:xfrm>
          <a:prstGeom prst="rect">
            <a:avLst/>
          </a:prstGeom>
          <a:noFill/>
        </p:spPr>
        <p:txBody>
          <a:bodyPr wrap="square" rtlCol="0">
            <a:spAutoFit/>
          </a:bodyPr>
          <a:lstStyle/>
          <a:p>
            <a:pPr marL="342900" indent="-342900" algn="just">
              <a:buFont typeface="Arial" pitchFamily="34" charset="0"/>
              <a:buChar char="•"/>
            </a:pPr>
            <a:r>
              <a:rPr lang="en-US" sz="2400" dirty="0">
                <a:latin typeface="+mj-lt"/>
              </a:rPr>
              <a:t>Start with the simplest hypothesis space first:</a:t>
            </a:r>
          </a:p>
          <a:p>
            <a:pPr algn="just"/>
            <a:r>
              <a:rPr lang="en-US" sz="2400" dirty="0">
                <a:latin typeface="+mj-lt"/>
              </a:rPr>
              <a:t>	i.e., try a linear model such as logistic regression. </a:t>
            </a:r>
          </a:p>
          <a:p>
            <a:pPr algn="just"/>
            <a:endParaRPr lang="en-US" sz="2400" dirty="0">
              <a:latin typeface="+mj-lt"/>
            </a:endParaRPr>
          </a:p>
          <a:p>
            <a:pPr marL="342900" indent="-342900" algn="just">
              <a:buFont typeface="Arial" pitchFamily="34" charset="0"/>
              <a:buChar char="•"/>
            </a:pPr>
            <a:r>
              <a:rPr lang="en-US" sz="2400" dirty="0">
                <a:latin typeface="+mj-lt"/>
              </a:rPr>
              <a:t>If this doesn't work “well” (in other words, it doesn't meet our performance expectation – accuracy/precision/recall,etc.), move on to the next experiment.</a:t>
            </a:r>
          </a:p>
          <a:p>
            <a:pPr marL="342900" indent="-342900" algn="just">
              <a:buFont typeface="Arial" pitchFamily="34" charset="0"/>
              <a:buChar char="•"/>
            </a:pPr>
            <a:endParaRPr lang="en-US" sz="2400" dirty="0">
              <a:latin typeface="+mj-lt"/>
            </a:endParaRPr>
          </a:p>
          <a:p>
            <a:pPr marL="342900" indent="-342900" algn="just">
              <a:buFont typeface="Arial" pitchFamily="34" charset="0"/>
              <a:buChar char="•"/>
            </a:pPr>
            <a:r>
              <a:rPr lang="en-US" sz="2400" dirty="0">
                <a:latin typeface="+mj-lt"/>
              </a:rPr>
              <a:t>The next experiment could be a “worry-free” approach if it exists in ML </a:t>
            </a:r>
            <a:r>
              <a:rPr lang="en-US" sz="2400" dirty="0">
                <a:latin typeface="+mj-lt"/>
                <a:sym typeface="Wingdings" pitchFamily="2" charset="2"/>
              </a:rPr>
              <a:t></a:t>
            </a:r>
            <a:endParaRPr lang="en-US" sz="2400" dirty="0">
              <a:latin typeface="+mj-lt"/>
            </a:endParaRPr>
          </a:p>
          <a:p>
            <a:pPr algn="just"/>
            <a:endParaRPr lang="en-US" sz="2400" dirty="0">
              <a:latin typeface="+mj-lt"/>
            </a:endParaRPr>
          </a:p>
          <a:p>
            <a:pPr algn="just"/>
            <a:endParaRPr lang="en-US" sz="2400" dirty="0">
              <a:latin typeface="+mj-lt"/>
            </a:endParaRPr>
          </a:p>
          <a:p>
            <a:pPr marL="342900" indent="-342900" algn="just">
              <a:buFont typeface="Arial" pitchFamily="34" charset="0"/>
              <a:buChar char="•"/>
            </a:pPr>
            <a:endParaRPr lang="en-US" sz="2400" dirty="0">
              <a:latin typeface="+mj-lt"/>
            </a:endParaRPr>
          </a:p>
        </p:txBody>
      </p:sp>
    </p:spTree>
    <p:extLst>
      <p:ext uri="{BB962C8B-B14F-4D97-AF65-F5344CB8AC3E}">
        <p14:creationId xmlns:p14="http://schemas.microsoft.com/office/powerpoint/2010/main" val="293925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txBox="1">
            <a:spLocks/>
          </p:cNvSpPr>
          <p:nvPr/>
        </p:nvSpPr>
        <p:spPr>
          <a:xfrm>
            <a:off x="520759" y="358645"/>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5400" b="1" dirty="0">
              <a:latin typeface="+mn-lt"/>
            </a:endParaRPr>
          </a:p>
        </p:txBody>
      </p:sp>
      <p:sp>
        <p:nvSpPr>
          <p:cNvPr id="7" name="TextBox 6"/>
          <p:cNvSpPr txBox="1"/>
          <p:nvPr/>
        </p:nvSpPr>
        <p:spPr>
          <a:xfrm>
            <a:off x="591469" y="1323772"/>
            <a:ext cx="11277600" cy="523220"/>
          </a:xfrm>
          <a:prstGeom prst="rect">
            <a:avLst/>
          </a:prstGeom>
          <a:noFill/>
        </p:spPr>
        <p:txBody>
          <a:bodyPr wrap="square" rtlCol="0">
            <a:spAutoFit/>
          </a:bodyPr>
          <a:lstStyle/>
          <a:p>
            <a:endParaRPr lang="en-US" sz="2800" dirty="0">
              <a:latin typeface="+mj-lt"/>
            </a:endParaRPr>
          </a:p>
        </p:txBody>
      </p:sp>
      <p:sp>
        <p:nvSpPr>
          <p:cNvPr id="9" name="Title 2"/>
          <p:cNvSpPr txBox="1">
            <a:spLocks/>
          </p:cNvSpPr>
          <p:nvPr/>
        </p:nvSpPr>
        <p:spPr>
          <a:xfrm>
            <a:off x="504716" y="246351"/>
            <a:ext cx="11931759" cy="83182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5200" b="1" dirty="0">
                <a:solidFill>
                  <a:schemeClr val="tx1"/>
                </a:solidFill>
              </a:rPr>
              <a:t>“Worry-Free” Approach</a:t>
            </a:r>
          </a:p>
        </p:txBody>
      </p:sp>
      <p:sp>
        <p:nvSpPr>
          <p:cNvPr id="13" name="TextBox 12"/>
          <p:cNvSpPr txBox="1"/>
          <p:nvPr/>
        </p:nvSpPr>
        <p:spPr>
          <a:xfrm>
            <a:off x="591468" y="1323772"/>
            <a:ext cx="11541391" cy="5509200"/>
          </a:xfrm>
          <a:prstGeom prst="rect">
            <a:avLst/>
          </a:prstGeom>
          <a:noFill/>
        </p:spPr>
        <p:txBody>
          <a:bodyPr wrap="square" rtlCol="0">
            <a:spAutoFit/>
          </a:bodyPr>
          <a:lstStyle/>
          <a:p>
            <a:pPr marL="342900" indent="-342900" algn="just">
              <a:buFont typeface="Arial" pitchFamily="34" charset="0"/>
              <a:buChar char="•"/>
            </a:pPr>
            <a:r>
              <a:rPr lang="en-US" sz="2200" dirty="0">
                <a:latin typeface="+mj-lt"/>
              </a:rPr>
              <a:t>Random forests are probably THE "worry-free" approach</a:t>
            </a:r>
          </a:p>
          <a:p>
            <a:pPr algn="just"/>
            <a:endParaRPr lang="en-US" sz="2200" dirty="0">
              <a:latin typeface="+mj-lt"/>
            </a:endParaRPr>
          </a:p>
          <a:p>
            <a:pPr marL="342900" indent="-342900" algn="just">
              <a:buFont typeface="Arial" pitchFamily="34" charset="0"/>
              <a:buChar char="•"/>
            </a:pPr>
            <a:r>
              <a:rPr lang="en-US" sz="2200" dirty="0">
                <a:latin typeface="+mj-lt"/>
              </a:rPr>
              <a:t>No real hyperparameters to tune (except for the number of trees)</a:t>
            </a:r>
          </a:p>
          <a:p>
            <a:pPr algn="just"/>
            <a:endParaRPr lang="en-US" sz="2200" dirty="0">
              <a:latin typeface="+mj-lt"/>
            </a:endParaRPr>
          </a:p>
          <a:p>
            <a:pPr marL="342900" indent="-342900" algn="just">
              <a:buFont typeface="Arial" pitchFamily="34" charset="0"/>
              <a:buChar char="•"/>
            </a:pPr>
            <a:r>
              <a:rPr lang="en-US" sz="2200" dirty="0">
                <a:latin typeface="+mj-lt"/>
              </a:rPr>
              <a:t>Lot of knobs to be turned in SVMs: Choosing the “right” kernel, regularization penalties, </a:t>
            </a:r>
            <a:r>
              <a:rPr lang="en-US" sz="2200" dirty="0" err="1">
                <a:latin typeface="+mj-lt"/>
              </a:rPr>
              <a:t>etc</a:t>
            </a:r>
            <a:endParaRPr lang="en-US" sz="2200" dirty="0">
              <a:latin typeface="+mj-lt"/>
            </a:endParaRPr>
          </a:p>
          <a:p>
            <a:pPr marL="342900" indent="-342900" algn="just">
              <a:buFont typeface="Arial" pitchFamily="34" charset="0"/>
              <a:buChar char="•"/>
            </a:pPr>
            <a:endParaRPr lang="en-US" sz="2200" dirty="0">
              <a:latin typeface="+mj-lt"/>
            </a:endParaRPr>
          </a:p>
          <a:p>
            <a:pPr marL="342900" indent="-342900" algn="just">
              <a:buFont typeface="Arial" pitchFamily="34" charset="0"/>
              <a:buChar char="•"/>
            </a:pPr>
            <a:r>
              <a:rPr lang="en-US" sz="2200" dirty="0">
                <a:latin typeface="+mj-lt"/>
              </a:rPr>
              <a:t>Random forests / SVMs:</a:t>
            </a:r>
          </a:p>
          <a:p>
            <a:pPr algn="just"/>
            <a:endParaRPr lang="en-US" sz="2200" dirty="0">
              <a:latin typeface="+mj-lt"/>
            </a:endParaRPr>
          </a:p>
          <a:p>
            <a:pPr lvl="1" algn="just"/>
            <a:r>
              <a:rPr lang="en-US" sz="2200" dirty="0">
                <a:latin typeface="+mj-lt"/>
              </a:rPr>
              <a:t>The complexity grows as the number of training samples increases</a:t>
            </a:r>
          </a:p>
          <a:p>
            <a:pPr lvl="1" algn="just"/>
            <a:endParaRPr lang="en-US" sz="2200" dirty="0">
              <a:latin typeface="+mj-lt"/>
            </a:endParaRPr>
          </a:p>
          <a:p>
            <a:pPr lvl="1" algn="just"/>
            <a:r>
              <a:rPr lang="en-US" sz="2200" dirty="0">
                <a:latin typeface="+mj-lt"/>
              </a:rPr>
              <a:t>More trees means more expensive to build a random forest. Also, we can end up with a lot of support vectors in SVMs.</a:t>
            </a:r>
          </a:p>
          <a:p>
            <a:pPr marL="809271" lvl="1" indent="-342900" algn="just">
              <a:buFont typeface="Arial" pitchFamily="34" charset="0"/>
              <a:buChar char="•"/>
            </a:pPr>
            <a:endParaRPr lang="en-US" sz="2200" dirty="0">
              <a:latin typeface="+mj-lt"/>
            </a:endParaRPr>
          </a:p>
          <a:p>
            <a:pPr lvl="1" algn="just"/>
            <a:r>
              <a:rPr lang="en-US" sz="2200" dirty="0">
                <a:latin typeface="+mj-lt"/>
              </a:rPr>
              <a:t>Although, there are multi-class SVMs, the typical implementation for mult-class classification is One-vs.-All. In contrast, decision trees or random forests can handle multiple classes out of the box.</a:t>
            </a:r>
          </a:p>
        </p:txBody>
      </p:sp>
    </p:spTree>
    <p:extLst>
      <p:ext uri="{BB962C8B-B14F-4D97-AF65-F5344CB8AC3E}">
        <p14:creationId xmlns:p14="http://schemas.microsoft.com/office/powerpoint/2010/main" val="17644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txBox="1">
            <a:spLocks/>
          </p:cNvSpPr>
          <p:nvPr/>
        </p:nvSpPr>
        <p:spPr>
          <a:xfrm>
            <a:off x="520759" y="358645"/>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5400" b="1" dirty="0">
              <a:latin typeface="+mn-lt"/>
            </a:endParaRPr>
          </a:p>
        </p:txBody>
      </p:sp>
      <p:sp>
        <p:nvSpPr>
          <p:cNvPr id="7" name="TextBox 6"/>
          <p:cNvSpPr txBox="1"/>
          <p:nvPr/>
        </p:nvSpPr>
        <p:spPr>
          <a:xfrm>
            <a:off x="591469" y="1323772"/>
            <a:ext cx="11277600" cy="4093428"/>
          </a:xfrm>
          <a:prstGeom prst="rect">
            <a:avLst/>
          </a:prstGeom>
          <a:noFill/>
        </p:spPr>
        <p:txBody>
          <a:bodyPr wrap="square" rtlCol="0">
            <a:spAutoFit/>
          </a:bodyPr>
          <a:lstStyle/>
          <a:p>
            <a:pPr marL="342900" indent="-342900">
              <a:buFont typeface="Arial" pitchFamily="34" charset="0"/>
              <a:buChar char="•"/>
            </a:pPr>
            <a:r>
              <a:rPr lang="en-US" sz="2000" dirty="0">
                <a:latin typeface="+mj-lt"/>
              </a:rPr>
              <a:t>SVMs are great for relatively small data sets with few outliers. </a:t>
            </a:r>
          </a:p>
          <a:p>
            <a:pPr marL="342900" indent="-342900">
              <a:buFont typeface="Arial" pitchFamily="34" charset="0"/>
              <a:buChar char="•"/>
            </a:pPr>
            <a:endParaRPr lang="en-US" sz="2000" dirty="0">
              <a:latin typeface="+mj-lt"/>
            </a:endParaRPr>
          </a:p>
          <a:p>
            <a:pPr marL="342900" indent="-342900">
              <a:buFont typeface="Arial" pitchFamily="34" charset="0"/>
              <a:buChar char="•"/>
            </a:pPr>
            <a:r>
              <a:rPr lang="en-US" sz="2000" dirty="0">
                <a:latin typeface="+mj-lt"/>
              </a:rPr>
              <a:t>Random forests may require more data but they almost always come up with a pretty robust model.</a:t>
            </a:r>
          </a:p>
          <a:p>
            <a:pPr marL="342900" indent="-342900">
              <a:buFont typeface="Arial" pitchFamily="34" charset="0"/>
              <a:buChar char="•"/>
            </a:pPr>
            <a:endParaRPr lang="en-US" sz="2000" dirty="0">
              <a:latin typeface="+mj-lt"/>
            </a:endParaRPr>
          </a:p>
          <a:p>
            <a:pPr marL="342900" indent="-342900">
              <a:buFont typeface="Arial" pitchFamily="34" charset="0"/>
              <a:buChar char="•"/>
            </a:pPr>
            <a:r>
              <a:rPr lang="en-US" sz="2000" dirty="0">
                <a:latin typeface="+mj-lt"/>
              </a:rPr>
              <a:t>Deep learning algorithms:</a:t>
            </a:r>
          </a:p>
          <a:p>
            <a:pPr marL="809271" lvl="1" indent="-342900">
              <a:buFont typeface="Arial" pitchFamily="34" charset="0"/>
              <a:buChar char="•"/>
            </a:pPr>
            <a:r>
              <a:rPr lang="en-US" sz="2000" dirty="0">
                <a:latin typeface="+mj-lt"/>
              </a:rPr>
              <a:t>Cons:</a:t>
            </a:r>
          </a:p>
          <a:p>
            <a:pPr marL="1275642" lvl="2" indent="-342900" algn="just">
              <a:buFont typeface="Arial" pitchFamily="34" charset="0"/>
              <a:buChar char="•"/>
            </a:pPr>
            <a:r>
              <a:rPr lang="en-US" sz="2000" dirty="0">
                <a:latin typeface="+mj-lt"/>
              </a:rPr>
              <a:t>Require "relatively" large datasets to work well. In addition, we need the infrastructure to train them in reasonable time. Setting up a neural networks is much more tedious than using an off-the-shelf classifiers such as random forests and SVMs. </a:t>
            </a:r>
          </a:p>
          <a:p>
            <a:pPr marL="809271" lvl="1" indent="-342900">
              <a:buFont typeface="Arial" pitchFamily="34" charset="0"/>
              <a:buChar char="•"/>
            </a:pPr>
            <a:r>
              <a:rPr lang="en-US" sz="2000" dirty="0">
                <a:latin typeface="+mj-lt"/>
              </a:rPr>
              <a:t>Pros:</a:t>
            </a:r>
          </a:p>
          <a:p>
            <a:pPr marL="1275642" lvl="2" indent="-342900" algn="just">
              <a:buFont typeface="Arial" pitchFamily="34" charset="0"/>
              <a:buChar char="•"/>
            </a:pPr>
            <a:r>
              <a:rPr lang="en-US" sz="2000" dirty="0">
                <a:latin typeface="+mj-lt"/>
              </a:rPr>
              <a:t>Deep learning really shines when it comes to complex problems such as image classification, natural language processing, and speech recognition.</a:t>
            </a:r>
          </a:p>
          <a:p>
            <a:pPr marL="1275642" lvl="2" indent="-342900" algn="just">
              <a:buFont typeface="Arial" pitchFamily="34" charset="0"/>
              <a:buChar char="•"/>
            </a:pPr>
            <a:r>
              <a:rPr lang="en-US" sz="2000" dirty="0">
                <a:latin typeface="+mj-lt"/>
              </a:rPr>
              <a:t>Very less effort with Feature Engineering</a:t>
            </a:r>
          </a:p>
        </p:txBody>
      </p:sp>
      <p:sp>
        <p:nvSpPr>
          <p:cNvPr id="9" name="Title 2"/>
          <p:cNvSpPr txBox="1">
            <a:spLocks/>
          </p:cNvSpPr>
          <p:nvPr/>
        </p:nvSpPr>
        <p:spPr>
          <a:xfrm>
            <a:off x="504716" y="246351"/>
            <a:ext cx="11931759" cy="83182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200" b="1" dirty="0">
                <a:solidFill>
                  <a:schemeClr val="tx1"/>
                </a:solidFill>
              </a:rPr>
              <a:t>Rule of Thumb</a:t>
            </a:r>
            <a:endParaRPr lang="en-US" sz="5200" dirty="0">
              <a:solidFill>
                <a:schemeClr val="tx1"/>
              </a:solidFill>
            </a:endParaRPr>
          </a:p>
        </p:txBody>
      </p:sp>
    </p:spTree>
    <p:extLst>
      <p:ext uri="{BB962C8B-B14F-4D97-AF65-F5344CB8AC3E}">
        <p14:creationId xmlns:p14="http://schemas.microsoft.com/office/powerpoint/2010/main" val="51716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txBox="1">
            <a:spLocks/>
          </p:cNvSpPr>
          <p:nvPr/>
        </p:nvSpPr>
        <p:spPr>
          <a:xfrm>
            <a:off x="520759" y="358645"/>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5400" b="1" dirty="0">
              <a:latin typeface="+mn-lt"/>
            </a:endParaRPr>
          </a:p>
        </p:txBody>
      </p:sp>
      <p:sp>
        <p:nvSpPr>
          <p:cNvPr id="7" name="TextBox 6"/>
          <p:cNvSpPr txBox="1"/>
          <p:nvPr/>
        </p:nvSpPr>
        <p:spPr>
          <a:xfrm>
            <a:off x="591469" y="1323772"/>
            <a:ext cx="11277600" cy="4893647"/>
          </a:xfrm>
          <a:prstGeom prst="rect">
            <a:avLst/>
          </a:prstGeom>
          <a:noFill/>
        </p:spPr>
        <p:txBody>
          <a:bodyPr wrap="square" rtlCol="0">
            <a:spAutoFit/>
          </a:bodyPr>
          <a:lstStyle/>
          <a:p>
            <a:pPr marL="342900" indent="-342900">
              <a:buFont typeface="Arial" pitchFamily="34" charset="0"/>
              <a:buChar char="•"/>
            </a:pPr>
            <a:r>
              <a:rPr lang="en-US" sz="2400" dirty="0">
                <a:latin typeface="+mj-lt"/>
              </a:rPr>
              <a:t> In practice, the decision which classifier to choose depends on:</a:t>
            </a:r>
          </a:p>
          <a:p>
            <a:pPr marL="809271" lvl="1" indent="-342900">
              <a:buFont typeface="Arial" pitchFamily="34" charset="0"/>
              <a:buChar char="•"/>
            </a:pPr>
            <a:r>
              <a:rPr lang="en-US" sz="2400" dirty="0">
                <a:latin typeface="+mj-lt"/>
              </a:rPr>
              <a:t>your dataset.</a:t>
            </a:r>
          </a:p>
          <a:p>
            <a:pPr marL="809271" lvl="1" indent="-342900">
              <a:buFont typeface="Arial" pitchFamily="34" charset="0"/>
              <a:buChar char="•"/>
            </a:pPr>
            <a:r>
              <a:rPr lang="en-US" sz="2400" dirty="0">
                <a:latin typeface="+mj-lt"/>
              </a:rPr>
              <a:t>general complexity of the problem -- that's where your experience as machine learning practitioner kicks in.</a:t>
            </a:r>
          </a:p>
          <a:p>
            <a:pPr marL="342900" indent="-342900">
              <a:buFont typeface="Arial" pitchFamily="34" charset="0"/>
              <a:buChar char="•"/>
            </a:pPr>
            <a:endParaRPr lang="en-US" sz="2400" dirty="0">
              <a:latin typeface="+mj-lt"/>
            </a:endParaRPr>
          </a:p>
          <a:p>
            <a:pPr marL="342900" indent="-342900">
              <a:buFont typeface="Arial" pitchFamily="34" charset="0"/>
              <a:buChar char="•"/>
            </a:pPr>
            <a:r>
              <a:rPr lang="en-US" sz="2400" dirty="0">
                <a:latin typeface="+mj-lt"/>
              </a:rPr>
              <a:t>Define a performance metric to evaluate your model</a:t>
            </a:r>
          </a:p>
          <a:p>
            <a:endParaRPr lang="en-US" sz="2400" dirty="0">
              <a:latin typeface="+mj-lt"/>
            </a:endParaRPr>
          </a:p>
          <a:p>
            <a:pPr marL="342900" indent="-342900">
              <a:buFont typeface="Arial" pitchFamily="34" charset="0"/>
              <a:buChar char="•"/>
            </a:pPr>
            <a:r>
              <a:rPr lang="en-US" sz="2400" dirty="0">
                <a:latin typeface="+mj-lt"/>
              </a:rPr>
              <a:t>Ask yourself: What performance score is desired, what hardware is required, what is the project deadline.</a:t>
            </a:r>
          </a:p>
          <a:p>
            <a:endParaRPr lang="en-US" sz="2400" dirty="0">
              <a:latin typeface="+mj-lt"/>
            </a:endParaRPr>
          </a:p>
          <a:p>
            <a:pPr marL="342900" indent="-342900">
              <a:buFont typeface="Arial" pitchFamily="34" charset="0"/>
              <a:buChar char="•"/>
            </a:pPr>
            <a:r>
              <a:rPr lang="en-US" sz="2400" dirty="0">
                <a:latin typeface="+mj-lt"/>
              </a:rPr>
              <a:t>Start with the simplest model</a:t>
            </a:r>
          </a:p>
          <a:p>
            <a:endParaRPr lang="en-US" sz="2400" dirty="0">
              <a:latin typeface="+mj-lt"/>
            </a:endParaRPr>
          </a:p>
          <a:p>
            <a:pPr marL="342900" indent="-342900">
              <a:buFont typeface="Arial" pitchFamily="34" charset="0"/>
              <a:buChar char="•"/>
            </a:pPr>
            <a:r>
              <a:rPr lang="en-US" sz="2400" dirty="0">
                <a:latin typeface="+mj-lt"/>
              </a:rPr>
              <a:t>If you don't meet your expected goal, try more complex models (if possible)</a:t>
            </a:r>
          </a:p>
        </p:txBody>
      </p:sp>
      <p:sp>
        <p:nvSpPr>
          <p:cNvPr id="9" name="Title 2"/>
          <p:cNvSpPr txBox="1">
            <a:spLocks/>
          </p:cNvSpPr>
          <p:nvPr/>
        </p:nvSpPr>
        <p:spPr>
          <a:xfrm>
            <a:off x="504716" y="246351"/>
            <a:ext cx="11931759" cy="83182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200" b="1" dirty="0">
                <a:solidFill>
                  <a:schemeClr val="tx1"/>
                </a:solidFill>
              </a:rPr>
              <a:t>Summary</a:t>
            </a:r>
            <a:endParaRPr lang="en-US" sz="5200" dirty="0">
              <a:solidFill>
                <a:schemeClr val="tx1"/>
              </a:solidFill>
            </a:endParaRPr>
          </a:p>
        </p:txBody>
      </p:sp>
    </p:spTree>
    <p:extLst>
      <p:ext uri="{BB962C8B-B14F-4D97-AF65-F5344CB8AC3E}">
        <p14:creationId xmlns:p14="http://schemas.microsoft.com/office/powerpoint/2010/main" val="306678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2145632" cy="1984408"/>
          </a:xfrm>
        </p:spPr>
        <p:txBody>
          <a:bodyPr>
            <a:normAutofit/>
          </a:bodyPr>
          <a:lstStyle/>
          <a:p>
            <a:pPr>
              <a:spcAft>
                <a:spcPts val="600"/>
              </a:spcAft>
            </a:pPr>
            <a:r>
              <a:rPr lang="en-US" sz="7000" b="1" dirty="0">
                <a:solidFill>
                  <a:schemeClr val="bg1"/>
                </a:solidFill>
              </a:rPr>
              <a:t>Deep Learning Concepts</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89666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22285" y="1362474"/>
            <a:ext cx="9358518" cy="523220"/>
          </a:xfrm>
          <a:prstGeom prst="rect">
            <a:avLst/>
          </a:prstGeom>
          <a:noFill/>
        </p:spPr>
        <p:txBody>
          <a:bodyPr wrap="square" rtlCol="0">
            <a:spAutoFit/>
          </a:bodyPr>
          <a:lstStyle/>
          <a:p>
            <a:pPr algn="ctr"/>
            <a:r>
              <a:rPr lang="en-US" sz="2800" dirty="0">
                <a:latin typeface="+mj-lt"/>
              </a:rPr>
              <a:t>It all starts with a humble linear function called a perceptron</a:t>
            </a:r>
            <a:endParaRPr lang="en-US" sz="2800" dirty="0"/>
          </a:p>
        </p:txBody>
      </p:sp>
      <p:grpSp>
        <p:nvGrpSpPr>
          <p:cNvPr id="4" name="Group 3"/>
          <p:cNvGrpSpPr/>
          <p:nvPr/>
        </p:nvGrpSpPr>
        <p:grpSpPr>
          <a:xfrm>
            <a:off x="2333788" y="2284941"/>
            <a:ext cx="3036428" cy="1599156"/>
            <a:chOff x="763370" y="1894494"/>
            <a:chExt cx="2977160" cy="1567942"/>
          </a:xfrm>
        </p:grpSpPr>
        <p:sp>
          <p:nvSpPr>
            <p:cNvPr id="5" name="TextBox 4"/>
            <p:cNvSpPr txBox="1"/>
            <p:nvPr/>
          </p:nvSpPr>
          <p:spPr>
            <a:xfrm>
              <a:off x="1297731" y="1894494"/>
              <a:ext cx="2392464" cy="1567942"/>
            </a:xfrm>
            <a:prstGeom prst="rect">
              <a:avLst/>
            </a:prstGeom>
            <a:noFill/>
          </p:spPr>
          <p:txBody>
            <a:bodyPr wrap="none" rtlCol="0">
              <a:spAutoFit/>
            </a:bodyPr>
            <a:lstStyle/>
            <a:p>
              <a:r>
                <a:rPr lang="en-US" sz="2448" dirty="0">
                  <a:latin typeface="+mj-lt"/>
                </a:rPr>
                <a:t>weight1 </a:t>
              </a:r>
              <a:r>
                <a:rPr lang="en-US" sz="2448" dirty="0"/>
                <a:t>× </a:t>
              </a:r>
              <a:r>
                <a:rPr lang="en-US" sz="2448" dirty="0">
                  <a:latin typeface="+mj-lt"/>
                  <a:sym typeface="Zapf Dingbats"/>
                </a:rPr>
                <a:t>input1</a:t>
              </a:r>
            </a:p>
            <a:p>
              <a:r>
                <a:rPr lang="en-US" sz="2448" dirty="0">
                  <a:latin typeface="+mj-lt"/>
                  <a:sym typeface="Zapf Dingbats"/>
                </a:rPr>
                <a:t>weight2 </a:t>
              </a:r>
              <a:r>
                <a:rPr lang="en-US" sz="2448" dirty="0"/>
                <a:t>×</a:t>
              </a:r>
              <a:r>
                <a:rPr lang="en-US" sz="2448" dirty="0">
                  <a:latin typeface="+mj-lt"/>
                  <a:sym typeface="Zapf Dingbats"/>
                </a:rPr>
                <a:t> input2</a:t>
              </a:r>
            </a:p>
            <a:p>
              <a:r>
                <a:rPr lang="en-US" sz="2448" dirty="0">
                  <a:latin typeface="+mj-lt"/>
                  <a:sym typeface="Zapf Dingbats"/>
                </a:rPr>
                <a:t>weight3 </a:t>
              </a:r>
              <a:r>
                <a:rPr lang="en-US" sz="2448" dirty="0"/>
                <a:t>×</a:t>
              </a:r>
              <a:r>
                <a:rPr lang="en-US" sz="2448" dirty="0">
                  <a:latin typeface="+mj-lt"/>
                  <a:ea typeface="Zapf Dingbats"/>
                  <a:cs typeface="Zapf Dingbats"/>
                  <a:sym typeface="Zapf Dingbats"/>
                </a:rPr>
                <a:t> input3</a:t>
              </a:r>
            </a:p>
            <a:p>
              <a:r>
                <a:rPr lang="en-US" sz="2448" dirty="0">
                  <a:latin typeface="+mj-lt"/>
                </a:rPr>
                <a:t>sum</a:t>
              </a:r>
            </a:p>
          </p:txBody>
        </p:sp>
        <p:cxnSp>
          <p:nvCxnSpPr>
            <p:cNvPr id="6" name="Straight Connector 5"/>
            <p:cNvCxnSpPr/>
            <p:nvPr/>
          </p:nvCxnSpPr>
          <p:spPr>
            <a:xfrm>
              <a:off x="1249153" y="3081155"/>
              <a:ext cx="2491377" cy="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63370" y="2336727"/>
              <a:ext cx="591279" cy="583043"/>
            </a:xfrm>
            <a:prstGeom prst="rect">
              <a:avLst/>
            </a:prstGeom>
            <a:noFill/>
          </p:spPr>
          <p:txBody>
            <a:bodyPr wrap="none" rtlCol="0">
              <a:spAutoFit/>
            </a:bodyPr>
            <a:lstStyle/>
            <a:p>
              <a:r>
                <a:rPr lang="en-US" sz="3264" dirty="0">
                  <a:latin typeface="+mj-lt"/>
                  <a:ea typeface="Zapf Dingbats"/>
                  <a:cs typeface="Zapf Dingbats"/>
                  <a:sym typeface="Zapf Dingbats"/>
                </a:rPr>
                <a:t>✚</a:t>
              </a:r>
              <a:endParaRPr lang="en-US" sz="3264" dirty="0">
                <a:latin typeface="+mj-lt"/>
              </a:endParaRPr>
            </a:p>
          </p:txBody>
        </p:sp>
      </p:grpSp>
      <p:sp>
        <p:nvSpPr>
          <p:cNvPr id="8" name="TextBox 7"/>
          <p:cNvSpPr txBox="1"/>
          <p:nvPr/>
        </p:nvSpPr>
        <p:spPr>
          <a:xfrm>
            <a:off x="6170016" y="2331744"/>
            <a:ext cx="3810787" cy="1222451"/>
          </a:xfrm>
          <a:prstGeom prst="rect">
            <a:avLst/>
          </a:prstGeom>
          <a:noFill/>
        </p:spPr>
        <p:txBody>
          <a:bodyPr wrap="none" rtlCol="0">
            <a:spAutoFit/>
          </a:bodyPr>
          <a:lstStyle/>
          <a:p>
            <a:r>
              <a:rPr lang="en-US" sz="2448" dirty="0">
                <a:latin typeface="+mj-lt"/>
              </a:rPr>
              <a:t>Perceptron:</a:t>
            </a:r>
          </a:p>
          <a:p>
            <a:r>
              <a:rPr lang="en-US" sz="2448" dirty="0">
                <a:latin typeface="+mj-lt"/>
              </a:rPr>
              <a:t>If sum &gt; threshold: output 1</a:t>
            </a:r>
          </a:p>
          <a:p>
            <a:r>
              <a:rPr lang="en-US" sz="2448" dirty="0">
                <a:latin typeface="+mj-lt"/>
              </a:rPr>
              <a:t>Else: output 0</a:t>
            </a:r>
          </a:p>
        </p:txBody>
      </p:sp>
      <p:sp>
        <p:nvSpPr>
          <p:cNvPr id="9" name="TextBox 8"/>
          <p:cNvSpPr txBox="1"/>
          <p:nvPr/>
        </p:nvSpPr>
        <p:spPr>
          <a:xfrm>
            <a:off x="917947" y="4060776"/>
            <a:ext cx="10729219" cy="523220"/>
          </a:xfrm>
          <a:prstGeom prst="rect">
            <a:avLst/>
          </a:prstGeom>
          <a:noFill/>
        </p:spPr>
        <p:txBody>
          <a:bodyPr wrap="none" rtlCol="0">
            <a:spAutoFit/>
          </a:bodyPr>
          <a:lstStyle/>
          <a:p>
            <a:r>
              <a:rPr lang="en-US" sz="2800" dirty="0">
                <a:latin typeface="+mj-lt"/>
              </a:rPr>
              <a:t>Example: The inputs can be your data. Question: Should I buy this car?</a:t>
            </a:r>
          </a:p>
        </p:txBody>
      </p:sp>
      <p:grpSp>
        <p:nvGrpSpPr>
          <p:cNvPr id="10" name="Group 9"/>
          <p:cNvGrpSpPr/>
          <p:nvPr/>
        </p:nvGrpSpPr>
        <p:grpSpPr>
          <a:xfrm>
            <a:off x="2333788" y="4770086"/>
            <a:ext cx="3836157" cy="1599156"/>
            <a:chOff x="770034" y="4676979"/>
            <a:chExt cx="3761280" cy="1567942"/>
          </a:xfrm>
        </p:grpSpPr>
        <p:sp>
          <p:nvSpPr>
            <p:cNvPr id="11" name="TextBox 10"/>
            <p:cNvSpPr txBox="1"/>
            <p:nvPr/>
          </p:nvSpPr>
          <p:spPr>
            <a:xfrm>
              <a:off x="1304396" y="4676979"/>
              <a:ext cx="3226918" cy="1567942"/>
            </a:xfrm>
            <a:prstGeom prst="rect">
              <a:avLst/>
            </a:prstGeom>
            <a:noFill/>
          </p:spPr>
          <p:txBody>
            <a:bodyPr wrap="none" rtlCol="0">
              <a:spAutoFit/>
            </a:bodyPr>
            <a:lstStyle/>
            <a:p>
              <a:r>
                <a:rPr lang="en-US" sz="2448" dirty="0">
                  <a:latin typeface="+mj-lt"/>
                </a:rPr>
                <a:t>0.2 </a:t>
              </a:r>
              <a:r>
                <a:rPr lang="en-US" sz="2448" dirty="0"/>
                <a:t>×</a:t>
              </a:r>
              <a:r>
                <a:rPr lang="en-US" sz="2448" dirty="0">
                  <a:latin typeface="+mj-lt"/>
                  <a:sym typeface="Zapf Dingbats"/>
                </a:rPr>
                <a:t> gas mileage</a:t>
              </a:r>
            </a:p>
            <a:p>
              <a:r>
                <a:rPr lang="en-US" sz="2448" dirty="0">
                  <a:latin typeface="+mj-lt"/>
                  <a:sym typeface="Zapf Dingbats"/>
                </a:rPr>
                <a:t>0.3 </a:t>
              </a:r>
              <a:r>
                <a:rPr lang="en-US" sz="2448" dirty="0"/>
                <a:t>×</a:t>
              </a:r>
              <a:r>
                <a:rPr lang="en-US" sz="2448" dirty="0">
                  <a:latin typeface="+mj-lt"/>
                  <a:sym typeface="Zapf Dingbats"/>
                </a:rPr>
                <a:t> horsepower</a:t>
              </a:r>
            </a:p>
            <a:p>
              <a:r>
                <a:rPr lang="en-US" sz="2448" dirty="0">
                  <a:latin typeface="+mj-lt"/>
                  <a:sym typeface="Zapf Dingbats"/>
                </a:rPr>
                <a:t>0.5 </a:t>
              </a:r>
              <a:r>
                <a:rPr lang="en-US" sz="2448" dirty="0"/>
                <a:t>×</a:t>
              </a:r>
              <a:r>
                <a:rPr lang="en-US" sz="2448" dirty="0">
                  <a:latin typeface="+mj-lt"/>
                  <a:ea typeface="Zapf Dingbats"/>
                  <a:cs typeface="Zapf Dingbats"/>
                  <a:sym typeface="Zapf Dingbats"/>
                </a:rPr>
                <a:t> num cup holders</a:t>
              </a:r>
            </a:p>
            <a:p>
              <a:r>
                <a:rPr lang="en-US" sz="2448" dirty="0">
                  <a:latin typeface="+mj-lt"/>
                </a:rPr>
                <a:t>sum</a:t>
              </a:r>
            </a:p>
          </p:txBody>
        </p:sp>
        <p:cxnSp>
          <p:nvCxnSpPr>
            <p:cNvPr id="12" name="Straight Connector 11"/>
            <p:cNvCxnSpPr/>
            <p:nvPr/>
          </p:nvCxnSpPr>
          <p:spPr>
            <a:xfrm>
              <a:off x="1255818" y="5863640"/>
              <a:ext cx="2491377" cy="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70034" y="5089074"/>
              <a:ext cx="546945" cy="594650"/>
            </a:xfrm>
            <a:prstGeom prst="rect">
              <a:avLst/>
            </a:prstGeom>
            <a:noFill/>
          </p:spPr>
          <p:txBody>
            <a:bodyPr wrap="none" rtlCol="0">
              <a:spAutoFit/>
            </a:bodyPr>
            <a:lstStyle/>
            <a:p>
              <a:r>
                <a:rPr lang="en-US" sz="3264" dirty="0">
                  <a:ea typeface="Zapf Dingbats"/>
                  <a:cs typeface="Zapf Dingbats"/>
                  <a:sym typeface="Zapf Dingbats"/>
                </a:rPr>
                <a:t>✚</a:t>
              </a:r>
              <a:endParaRPr lang="en-US" sz="3264" dirty="0"/>
            </a:p>
          </p:txBody>
        </p:sp>
      </p:grpSp>
      <p:sp>
        <p:nvSpPr>
          <p:cNvPr id="14" name="TextBox 13"/>
          <p:cNvSpPr txBox="1"/>
          <p:nvPr/>
        </p:nvSpPr>
        <p:spPr>
          <a:xfrm>
            <a:off x="6282558" y="4958428"/>
            <a:ext cx="3224088" cy="1222451"/>
          </a:xfrm>
          <a:prstGeom prst="rect">
            <a:avLst/>
          </a:prstGeom>
          <a:noFill/>
        </p:spPr>
        <p:txBody>
          <a:bodyPr wrap="none" rtlCol="0">
            <a:spAutoFit/>
          </a:bodyPr>
          <a:lstStyle/>
          <a:p>
            <a:r>
              <a:rPr lang="en-US" sz="2448" dirty="0">
                <a:latin typeface="+mj-lt"/>
              </a:rPr>
              <a:t>Perceptron:</a:t>
            </a:r>
          </a:p>
          <a:p>
            <a:r>
              <a:rPr lang="en-US" sz="2448" dirty="0">
                <a:latin typeface="+mj-lt"/>
              </a:rPr>
              <a:t>If sum &lt; threshold: buy</a:t>
            </a:r>
          </a:p>
          <a:p>
            <a:r>
              <a:rPr lang="en-US" sz="2448" dirty="0">
                <a:latin typeface="+mj-lt"/>
              </a:rPr>
              <a:t>Else: walk</a:t>
            </a:r>
          </a:p>
        </p:txBody>
      </p:sp>
      <p:sp>
        <p:nvSpPr>
          <p:cNvPr id="1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Deep Learning Begins With A Little Function</a:t>
            </a:r>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12186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22"/>
          <p:cNvSpPr txBox="1">
            <a:spLocks/>
          </p:cNvSpPr>
          <p:nvPr/>
        </p:nvSpPr>
        <p:spPr>
          <a:xfrm>
            <a:off x="806308" y="1815861"/>
            <a:ext cx="11467993" cy="3201123"/>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3300" dirty="0"/>
              <a:t>Introduction to Deep Learning</a:t>
            </a:r>
          </a:p>
          <a:p>
            <a:pPr algn="just"/>
            <a:r>
              <a:rPr lang="en-US" sz="3300" dirty="0"/>
              <a:t>Traditional vs Deep Learning</a:t>
            </a:r>
          </a:p>
          <a:p>
            <a:pPr algn="just"/>
            <a:r>
              <a:rPr lang="en-US" sz="3300" dirty="0"/>
              <a:t>When does Deep Learning outperform Traditional Approaches?</a:t>
            </a:r>
          </a:p>
          <a:p>
            <a:pPr algn="just"/>
            <a:r>
              <a:rPr lang="en-US" sz="3300" dirty="0"/>
              <a:t>Deep Learning Concepts</a:t>
            </a:r>
          </a:p>
          <a:p>
            <a:pPr algn="just"/>
            <a:r>
              <a:rPr lang="en-US" sz="3300" dirty="0"/>
              <a:t>Deep Learning and Computer Vision</a:t>
            </a:r>
          </a:p>
          <a:p>
            <a:pPr algn="just"/>
            <a:endParaRPr lang="en-US" sz="3300" dirty="0"/>
          </a:p>
        </p:txBody>
      </p:sp>
      <p:sp>
        <p:nvSpPr>
          <p:cNvPr id="4" name="Title 2">
            <a:extLst>
              <a:ext uri="{FF2B5EF4-FFF2-40B4-BE49-F238E27FC236}">
                <a16:creationId xmlns:a16="http://schemas.microsoft.com/office/drawing/2014/main" id="{C1CFEA1A-5E72-44E7-B930-AAF9D62D9EB0}"/>
              </a:ext>
            </a:extLst>
          </p:cNvPr>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5400" b="1" dirty="0"/>
              <a:t>Overview</a:t>
            </a:r>
          </a:p>
        </p:txBody>
      </p:sp>
    </p:spTree>
    <p:extLst>
      <p:ext uri="{BB962C8B-B14F-4D97-AF65-F5344CB8AC3E}">
        <p14:creationId xmlns:p14="http://schemas.microsoft.com/office/powerpoint/2010/main" val="24632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anim calcmode="lin" valueType="num">
                                      <p:cBhvr additive="base">
                                        <p:cTn id="25"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additive="base">
                                        <p:cTn id="31"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81583" y="1095146"/>
            <a:ext cx="10982818" cy="862581"/>
          </a:xfrm>
          <a:prstGeom prst="rect">
            <a:avLst/>
          </a:prstGeom>
          <a:noFill/>
        </p:spPr>
        <p:txBody>
          <a:bodyPr wrap="square" rtlCol="0">
            <a:spAutoFit/>
          </a:bodyPr>
          <a:lstStyle/>
          <a:p>
            <a:pPr marL="342900" indent="-342900">
              <a:buFont typeface="Arial" panose="020B0604020202020204" pitchFamily="34" charset="0"/>
              <a:buChar char="•"/>
            </a:pPr>
            <a:r>
              <a:rPr lang="en-US" sz="2448" dirty="0">
                <a:latin typeface="+mj-lt"/>
              </a:rPr>
              <a:t>Deep learning comes from chaining a bunch of these little functions together</a:t>
            </a:r>
          </a:p>
          <a:p>
            <a:pPr marL="342900" indent="-342900">
              <a:buFont typeface="Arial" panose="020B0604020202020204" pitchFamily="34" charset="0"/>
              <a:buChar char="•"/>
            </a:pPr>
            <a:r>
              <a:rPr lang="en-US" sz="2448" dirty="0">
                <a:latin typeface="+mj-lt"/>
              </a:rPr>
              <a:t>Chained together, they are called neurons</a:t>
            </a:r>
          </a:p>
        </p:txBody>
      </p:sp>
      <p:grpSp>
        <p:nvGrpSpPr>
          <p:cNvPr id="4" name="Group 3"/>
          <p:cNvGrpSpPr/>
          <p:nvPr/>
        </p:nvGrpSpPr>
        <p:grpSpPr>
          <a:xfrm>
            <a:off x="4609941" y="2447098"/>
            <a:ext cx="3166836" cy="2665719"/>
            <a:chOff x="2906070" y="2160506"/>
            <a:chExt cx="3258277" cy="3161841"/>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6209" y="2675831"/>
              <a:ext cx="2718000" cy="2131192"/>
            </a:xfrm>
            <a:prstGeom prst="rect">
              <a:avLst/>
            </a:prstGeom>
          </p:spPr>
        </p:pic>
        <p:sp>
          <p:nvSpPr>
            <p:cNvPr id="6" name="Oval 5"/>
            <p:cNvSpPr/>
            <p:nvPr/>
          </p:nvSpPr>
          <p:spPr>
            <a:xfrm>
              <a:off x="2906070" y="2160506"/>
              <a:ext cx="3258277" cy="3161841"/>
            </a:xfrm>
            <a:prstGeom prst="ellipse">
              <a:avLst/>
            </a:prstGeom>
            <a:noFill/>
            <a:ln w="25400">
              <a:solidFill>
                <a:srgbClr val="C84D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grpSp>
      <p:sp>
        <p:nvSpPr>
          <p:cNvPr id="7" name="TextBox 6"/>
          <p:cNvSpPr txBox="1"/>
          <p:nvPr/>
        </p:nvSpPr>
        <p:spPr>
          <a:xfrm>
            <a:off x="7910344" y="4783692"/>
            <a:ext cx="1888659" cy="682623"/>
          </a:xfrm>
          <a:prstGeom prst="rect">
            <a:avLst/>
          </a:prstGeom>
          <a:noFill/>
        </p:spPr>
        <p:txBody>
          <a:bodyPr wrap="none" rtlCol="0">
            <a:spAutoFit/>
          </a:bodyPr>
          <a:lstStyle/>
          <a:p>
            <a:r>
              <a:rPr lang="en-US" sz="1836" dirty="0">
                <a:latin typeface="+mj-lt"/>
              </a:rPr>
              <a:t>weight3 </a:t>
            </a:r>
            <a:r>
              <a:rPr lang="en-US" sz="2000" dirty="0"/>
              <a:t>×</a:t>
            </a:r>
            <a:r>
              <a:rPr lang="en-US" sz="1836" dirty="0">
                <a:latin typeface="+mj-lt"/>
                <a:sym typeface="Zapf Dingbats"/>
              </a:rPr>
              <a:t> input3</a:t>
            </a:r>
          </a:p>
          <a:p>
            <a:endParaRPr lang="en-US" sz="1836" dirty="0"/>
          </a:p>
        </p:txBody>
      </p:sp>
      <p:cxnSp>
        <p:nvCxnSpPr>
          <p:cNvPr id="8" name="Straight Connector 7"/>
          <p:cNvCxnSpPr>
            <a:cxnSpLocks/>
          </p:cNvCxnSpPr>
          <p:nvPr/>
        </p:nvCxnSpPr>
        <p:spPr>
          <a:xfrm flipH="1" flipV="1">
            <a:off x="7313005" y="4722431"/>
            <a:ext cx="2060121" cy="2086554"/>
          </a:xfrm>
          <a:prstGeom prst="line">
            <a:avLst/>
          </a:prstGeom>
          <a:ln w="25400">
            <a:solidFill>
              <a:srgbClr val="C84D5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flipV="1">
            <a:off x="6193360" y="5112817"/>
            <a:ext cx="78149" cy="1681645"/>
          </a:xfrm>
          <a:prstGeom prst="line">
            <a:avLst/>
          </a:prstGeom>
          <a:ln w="25400">
            <a:solidFill>
              <a:srgbClr val="C84D5F"/>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28293" y="5987174"/>
            <a:ext cx="1888659" cy="682623"/>
          </a:xfrm>
          <a:prstGeom prst="rect">
            <a:avLst/>
          </a:prstGeom>
          <a:noFill/>
        </p:spPr>
        <p:txBody>
          <a:bodyPr wrap="none" rtlCol="0">
            <a:spAutoFit/>
          </a:bodyPr>
          <a:lstStyle/>
          <a:p>
            <a:r>
              <a:rPr lang="en-US" sz="1836" dirty="0">
                <a:latin typeface="+mj-lt"/>
              </a:rPr>
              <a:t>weight2 </a:t>
            </a:r>
            <a:r>
              <a:rPr lang="en-US" sz="2000" dirty="0"/>
              <a:t>×</a:t>
            </a:r>
            <a:r>
              <a:rPr lang="en-US" sz="1836" dirty="0">
                <a:latin typeface="+mj-lt"/>
                <a:sym typeface="Zapf Dingbats"/>
              </a:rPr>
              <a:t> input2</a:t>
            </a:r>
          </a:p>
          <a:p>
            <a:endParaRPr lang="en-US" sz="1836" dirty="0"/>
          </a:p>
        </p:txBody>
      </p:sp>
      <p:sp>
        <p:nvSpPr>
          <p:cNvPr id="11" name="TextBox 10"/>
          <p:cNvSpPr txBox="1"/>
          <p:nvPr/>
        </p:nvSpPr>
        <p:spPr>
          <a:xfrm>
            <a:off x="2694485" y="4947029"/>
            <a:ext cx="1811714" cy="400110"/>
          </a:xfrm>
          <a:prstGeom prst="rect">
            <a:avLst/>
          </a:prstGeom>
          <a:noFill/>
        </p:spPr>
        <p:txBody>
          <a:bodyPr wrap="none" rtlCol="0">
            <a:spAutoFit/>
          </a:bodyPr>
          <a:lstStyle/>
          <a:p>
            <a:r>
              <a:rPr lang="en-US" sz="1836" dirty="0">
                <a:latin typeface="+mj-lt"/>
              </a:rPr>
              <a:t>weight1 </a:t>
            </a:r>
            <a:r>
              <a:rPr lang="en-US" sz="2000" dirty="0"/>
              <a:t>×</a:t>
            </a:r>
            <a:r>
              <a:rPr lang="en-US" sz="1836" dirty="0">
                <a:latin typeface="+mj-lt"/>
                <a:sym typeface="Zapf Dingbats"/>
              </a:rPr>
              <a:t> input1</a:t>
            </a:r>
          </a:p>
        </p:txBody>
      </p:sp>
      <p:cxnSp>
        <p:nvCxnSpPr>
          <p:cNvPr id="12" name="Straight Connector 11"/>
          <p:cNvCxnSpPr>
            <a:cxnSpLocks/>
          </p:cNvCxnSpPr>
          <p:nvPr/>
        </p:nvCxnSpPr>
        <p:spPr>
          <a:xfrm flipV="1">
            <a:off x="3340611" y="4722431"/>
            <a:ext cx="1733103" cy="2146068"/>
          </a:xfrm>
          <a:prstGeom prst="line">
            <a:avLst/>
          </a:prstGeom>
          <a:ln w="25400">
            <a:solidFill>
              <a:srgbClr val="C84D5F"/>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flipV="1">
            <a:off x="6193359" y="2033593"/>
            <a:ext cx="0" cy="413505"/>
          </a:xfrm>
          <a:prstGeom prst="line">
            <a:avLst/>
          </a:prstGeom>
          <a:ln w="25400">
            <a:solidFill>
              <a:srgbClr val="C84D5F"/>
            </a:solidFill>
            <a:tailEnd type="triangle"/>
          </a:ln>
        </p:spPr>
        <p:style>
          <a:lnRef idx="1">
            <a:schemeClr val="accent1"/>
          </a:lnRef>
          <a:fillRef idx="0">
            <a:schemeClr val="accent1"/>
          </a:fillRef>
          <a:effectRef idx="0">
            <a:schemeClr val="accent1"/>
          </a:effectRef>
          <a:fontRef idx="minor">
            <a:schemeClr val="tx1"/>
          </a:fontRef>
        </p:style>
      </p:cxnSp>
      <p:sp>
        <p:nvSpPr>
          <p:cNvPr id="14"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se Little Functions Are Chained Together</a:t>
            </a:r>
          </a:p>
        </p:txBody>
      </p:sp>
      <p:pic>
        <p:nvPicPr>
          <p:cNvPr id="1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40906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53779" y="1733028"/>
            <a:ext cx="10555119" cy="4042610"/>
          </a:xfrm>
          <a:ln w="12700" cmpd="sng">
            <a:solidFill>
              <a:schemeClr val="tx1">
                <a:alpha val="99000"/>
              </a:schemeClr>
            </a:solidFill>
          </a:ln>
        </p:spPr>
      </p:pic>
      <p:sp>
        <p:nvSpPr>
          <p:cNvPr id="8"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Deep Neural Network (DNN)</a:t>
            </a:r>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91490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7643" y="1092896"/>
            <a:ext cx="7285964" cy="4368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4" descr="f(x) = \frac{1}{1 + \mathrm e^{-x}} "/>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18238" y="218580"/>
            <a:ext cx="1583483" cy="527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6" descr="http://upload.wikimedia.org/wikipedia/commons/thumb/8/88/Logistic-curve.svg/480px-Logistic-curve.sv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3048" y="48574"/>
            <a:ext cx="3108678" cy="2069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1" name="TextBox 1"/>
          <p:cNvSpPr txBox="1">
            <a:spLocks noChangeArrowheads="1"/>
          </p:cNvSpPr>
          <p:nvPr/>
        </p:nvSpPr>
        <p:spPr bwMode="auto">
          <a:xfrm>
            <a:off x="4061341" y="1719110"/>
            <a:ext cx="663964"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W1 </a:t>
            </a:r>
          </a:p>
        </p:txBody>
      </p:sp>
      <p:sp>
        <p:nvSpPr>
          <p:cNvPr id="9222" name="TextBox 35"/>
          <p:cNvSpPr txBox="1">
            <a:spLocks noChangeArrowheads="1"/>
          </p:cNvSpPr>
          <p:nvPr/>
        </p:nvSpPr>
        <p:spPr bwMode="auto">
          <a:xfrm>
            <a:off x="3514335" y="2880385"/>
            <a:ext cx="731134"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W2</a:t>
            </a:r>
            <a:r>
              <a:rPr lang="en-GB" altLang="en-US" sz="2448" dirty="0"/>
              <a:t> </a:t>
            </a:r>
          </a:p>
        </p:txBody>
      </p:sp>
      <p:sp>
        <p:nvSpPr>
          <p:cNvPr id="9223" name="TextBox 36"/>
          <p:cNvSpPr txBox="1">
            <a:spLocks noChangeArrowheads="1"/>
          </p:cNvSpPr>
          <p:nvPr/>
        </p:nvSpPr>
        <p:spPr bwMode="auto">
          <a:xfrm>
            <a:off x="3511097" y="4050997"/>
            <a:ext cx="731134"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W3</a:t>
            </a:r>
            <a:r>
              <a:rPr lang="en-GB" altLang="en-US" sz="2448" dirty="0"/>
              <a:t> </a:t>
            </a:r>
          </a:p>
        </p:txBody>
      </p:sp>
      <p:sp>
        <p:nvSpPr>
          <p:cNvPr id="9224" name="TextBox 2"/>
          <p:cNvSpPr txBox="1">
            <a:spLocks noChangeArrowheads="1"/>
          </p:cNvSpPr>
          <p:nvPr/>
        </p:nvSpPr>
        <p:spPr bwMode="auto">
          <a:xfrm>
            <a:off x="5693647" y="2883624"/>
            <a:ext cx="1071197" cy="798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4488" b="1" i="1" dirty="0"/>
              <a:t>f</a:t>
            </a:r>
            <a:r>
              <a:rPr lang="en-GB" altLang="en-US" sz="4488" b="1" dirty="0"/>
              <a:t>(</a:t>
            </a:r>
            <a:r>
              <a:rPr lang="en-GB" altLang="en-US" sz="4488" b="1" i="1" dirty="0"/>
              <a:t>x</a:t>
            </a:r>
            <a:r>
              <a:rPr lang="en-GB" altLang="en-US" sz="4488" b="1" dirty="0"/>
              <a:t>)</a:t>
            </a:r>
          </a:p>
        </p:txBody>
      </p:sp>
      <p:sp>
        <p:nvSpPr>
          <p:cNvPr id="9225" name="TextBox 39"/>
          <p:cNvSpPr txBox="1">
            <a:spLocks noChangeArrowheads="1"/>
          </p:cNvSpPr>
          <p:nvPr/>
        </p:nvSpPr>
        <p:spPr bwMode="auto">
          <a:xfrm>
            <a:off x="2053905" y="5226466"/>
            <a:ext cx="534121"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1.4</a:t>
            </a:r>
          </a:p>
        </p:txBody>
      </p:sp>
      <p:sp>
        <p:nvSpPr>
          <p:cNvPr id="9226" name="TextBox 39"/>
          <p:cNvSpPr txBox="1">
            <a:spLocks noChangeArrowheads="1"/>
          </p:cNvSpPr>
          <p:nvPr/>
        </p:nvSpPr>
        <p:spPr bwMode="auto">
          <a:xfrm>
            <a:off x="2042571" y="3026104"/>
            <a:ext cx="704039"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2.5</a:t>
            </a:r>
          </a:p>
        </p:txBody>
      </p:sp>
      <p:sp>
        <p:nvSpPr>
          <p:cNvPr id="9227" name="TextBox 39"/>
          <p:cNvSpPr txBox="1">
            <a:spLocks noChangeArrowheads="1"/>
          </p:cNvSpPr>
          <p:nvPr/>
        </p:nvSpPr>
        <p:spPr bwMode="auto">
          <a:xfrm>
            <a:off x="2053905" y="858126"/>
            <a:ext cx="865943"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0.06</a:t>
            </a:r>
          </a:p>
        </p:txBody>
      </p:sp>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85327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7643" y="1092896"/>
            <a:ext cx="7285964" cy="4368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4" descr="f(x) = \frac{1}{1 + \mathrm e^{-x}} "/>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18238" y="218580"/>
            <a:ext cx="1583483" cy="527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4" name="Picture 6" descr="http://upload.wikimedia.org/wikipedia/commons/thumb/8/88/Logistic-curve.svg/480px-Logistic-curve.sv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3048" y="48574"/>
            <a:ext cx="3108678" cy="2069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TextBox 1"/>
          <p:cNvSpPr txBox="1">
            <a:spLocks noChangeArrowheads="1"/>
          </p:cNvSpPr>
          <p:nvPr/>
        </p:nvSpPr>
        <p:spPr bwMode="auto">
          <a:xfrm>
            <a:off x="3834918" y="1792348"/>
            <a:ext cx="588897"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2.7</a:t>
            </a:r>
          </a:p>
        </p:txBody>
      </p:sp>
      <p:sp>
        <p:nvSpPr>
          <p:cNvPr id="10246" name="TextBox 35"/>
          <p:cNvSpPr txBox="1">
            <a:spLocks noChangeArrowheads="1"/>
          </p:cNvSpPr>
          <p:nvPr/>
        </p:nvSpPr>
        <p:spPr bwMode="auto">
          <a:xfrm>
            <a:off x="3514336" y="2880385"/>
            <a:ext cx="704039"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8.6</a:t>
            </a:r>
          </a:p>
        </p:txBody>
      </p:sp>
      <p:sp>
        <p:nvSpPr>
          <p:cNvPr id="10247" name="TextBox 36"/>
          <p:cNvSpPr txBox="1">
            <a:spLocks noChangeArrowheads="1"/>
          </p:cNvSpPr>
          <p:nvPr/>
        </p:nvSpPr>
        <p:spPr bwMode="auto">
          <a:xfrm>
            <a:off x="3511097" y="4050997"/>
            <a:ext cx="909340"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0.002</a:t>
            </a:r>
          </a:p>
        </p:txBody>
      </p:sp>
      <p:sp>
        <p:nvSpPr>
          <p:cNvPr id="10248" name="TextBox 2"/>
          <p:cNvSpPr txBox="1">
            <a:spLocks noChangeArrowheads="1"/>
          </p:cNvSpPr>
          <p:nvPr/>
        </p:nvSpPr>
        <p:spPr bwMode="auto">
          <a:xfrm>
            <a:off x="5693647" y="2883624"/>
            <a:ext cx="1071197" cy="798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4488" b="1" i="1" dirty="0"/>
              <a:t>f</a:t>
            </a:r>
            <a:r>
              <a:rPr lang="en-GB" altLang="en-US" sz="4488" b="1" dirty="0"/>
              <a:t>(</a:t>
            </a:r>
            <a:r>
              <a:rPr lang="en-GB" altLang="en-US" sz="4488" b="1" i="1" dirty="0"/>
              <a:t>x</a:t>
            </a:r>
            <a:r>
              <a:rPr lang="en-GB" altLang="en-US" sz="4488" b="1" dirty="0"/>
              <a:t>)</a:t>
            </a:r>
          </a:p>
        </p:txBody>
      </p:sp>
      <p:sp>
        <p:nvSpPr>
          <p:cNvPr id="10249" name="TextBox 39"/>
          <p:cNvSpPr txBox="1">
            <a:spLocks noChangeArrowheads="1"/>
          </p:cNvSpPr>
          <p:nvPr/>
        </p:nvSpPr>
        <p:spPr bwMode="auto">
          <a:xfrm>
            <a:off x="2053905" y="5226466"/>
            <a:ext cx="534121"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1.4</a:t>
            </a:r>
          </a:p>
        </p:txBody>
      </p:sp>
      <p:sp>
        <p:nvSpPr>
          <p:cNvPr id="10250" name="TextBox 39"/>
          <p:cNvSpPr txBox="1">
            <a:spLocks noChangeArrowheads="1"/>
          </p:cNvSpPr>
          <p:nvPr/>
        </p:nvSpPr>
        <p:spPr bwMode="auto">
          <a:xfrm>
            <a:off x="2042571" y="3026104"/>
            <a:ext cx="704039"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2.5</a:t>
            </a:r>
          </a:p>
        </p:txBody>
      </p:sp>
      <p:sp>
        <p:nvSpPr>
          <p:cNvPr id="10251" name="TextBox 39"/>
          <p:cNvSpPr txBox="1">
            <a:spLocks noChangeArrowheads="1"/>
          </p:cNvSpPr>
          <p:nvPr/>
        </p:nvSpPr>
        <p:spPr bwMode="auto">
          <a:xfrm>
            <a:off x="2053905" y="858126"/>
            <a:ext cx="865943" cy="46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0.06</a:t>
            </a:r>
          </a:p>
        </p:txBody>
      </p:sp>
      <p:sp>
        <p:nvSpPr>
          <p:cNvPr id="10252" name="TextBox 1"/>
          <p:cNvSpPr txBox="1">
            <a:spLocks noChangeArrowheads="1"/>
          </p:cNvSpPr>
          <p:nvPr/>
        </p:nvSpPr>
        <p:spPr bwMode="auto">
          <a:xfrm>
            <a:off x="4842001" y="4183763"/>
            <a:ext cx="6237526"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x =  -</a:t>
            </a:r>
            <a:r>
              <a:rPr lang="en-GB" altLang="en-US" sz="2448" dirty="0">
                <a:latin typeface="Segoe UI Light" pitchFamily="34" charset="0"/>
                <a:cs typeface="Segoe UI Light" pitchFamily="34" charset="0"/>
              </a:rPr>
              <a:t>0.06×2.7 + 2.5×8.6 + 1.4×0.002  = 21.34 </a:t>
            </a:r>
            <a:endParaRPr lang="en-GB" altLang="en-US" sz="2448" i="1" dirty="0">
              <a:latin typeface="Segoe UI Light" pitchFamily="34" charset="0"/>
              <a:cs typeface="Segoe UI Light" pitchFamily="34" charset="0"/>
            </a:endParaRPr>
          </a:p>
        </p:txBody>
      </p:sp>
      <p:pic>
        <p:nvPicPr>
          <p:cNvPr id="1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3448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91"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pPr eaLnBrk="1" hangingPunct="1">
              <a:defRPr/>
            </a:pPr>
            <a:r>
              <a:rPr lang="en-GB" altLang="en-US" sz="2448" i="1" dirty="0">
                <a:solidFill>
                  <a:schemeClr val="accent2">
                    <a:lumMod val="75000"/>
                  </a:schemeClr>
                </a:solidFill>
                <a:latin typeface="Segoe UI Light" pitchFamily="34" charset="0"/>
                <a:cs typeface="Segoe UI Light" pitchFamily="34" charset="0"/>
              </a:rPr>
              <a:t>A  dataset</a:t>
            </a:r>
          </a:p>
          <a:p>
            <a:pPr eaLnBrk="1" hangingPunct="1">
              <a:defRPr/>
            </a:pPr>
            <a:r>
              <a:rPr lang="en-GB" altLang="en-US" sz="2448" i="1" dirty="0">
                <a:latin typeface="Segoe UI Light" pitchFamily="34" charset="0"/>
                <a:cs typeface="Segoe UI Light" pitchFamily="34" charset="0"/>
              </a:rPr>
              <a:t>Fields               class</a:t>
            </a:r>
          </a:p>
          <a:p>
            <a:pPr eaLnBrk="1" hangingPunct="1">
              <a:defRPr/>
            </a:pPr>
            <a:r>
              <a:rPr lang="en-GB" altLang="en-US" sz="2448" dirty="0">
                <a:latin typeface="Segoe UI Light" pitchFamily="34" charset="0"/>
                <a:cs typeface="Segoe UI Light" pitchFamily="34" charset="0"/>
              </a:rPr>
              <a:t>1.4  2.7   1.9         0</a:t>
            </a:r>
          </a:p>
          <a:p>
            <a:pPr eaLnBrk="1" hangingPunct="1">
              <a:defRPr/>
            </a:pPr>
            <a:r>
              <a:rPr lang="en-GB" altLang="en-US" sz="2448" dirty="0">
                <a:latin typeface="Segoe UI Light" pitchFamily="34" charset="0"/>
                <a:cs typeface="Segoe UI Light" pitchFamily="34" charset="0"/>
              </a:rPr>
              <a:t>3.8  3.4   3.2         0</a:t>
            </a:r>
          </a:p>
          <a:p>
            <a:pPr eaLnBrk="1" hangingPunct="1">
              <a:defRPr/>
            </a:pPr>
            <a:r>
              <a:rPr lang="en-GB" altLang="en-US" sz="2448" dirty="0">
                <a:latin typeface="Segoe UI Light" pitchFamily="34" charset="0"/>
                <a:cs typeface="Segoe UI Light" pitchFamily="34" charset="0"/>
              </a:rPr>
              <a:t>6.4  2.8   1.7         1</a:t>
            </a:r>
          </a:p>
          <a:p>
            <a:pPr eaLnBrk="1" hangingPunct="1">
              <a:defRPr/>
            </a:pPr>
            <a:r>
              <a:rPr lang="en-GB" altLang="en-US" sz="2448" dirty="0">
                <a:latin typeface="Segoe UI Light" pitchFamily="34" charset="0"/>
                <a:cs typeface="Segoe UI Light" pitchFamily="34" charset="0"/>
              </a:rPr>
              <a:t>4.1  0.1   0.2         0</a:t>
            </a:r>
          </a:p>
          <a:p>
            <a:pPr eaLnBrk="1" hangingPunct="1">
              <a:defRPr/>
            </a:pPr>
            <a:r>
              <a:rPr lang="en-GB" altLang="en-US" sz="2448" dirty="0">
                <a:latin typeface="Segoe UI Light" pitchFamily="34" charset="0"/>
                <a:cs typeface="Segoe UI Light" pitchFamily="34" charset="0"/>
              </a:rPr>
              <a:t>etc …</a:t>
            </a:r>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2187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91" name="TextBox 1"/>
          <p:cNvSpPr txBox="1">
            <a:spLocks noChangeArrowheads="1"/>
          </p:cNvSpPr>
          <p:nvPr/>
        </p:nvSpPr>
        <p:spPr bwMode="auto">
          <a:xfrm>
            <a:off x="2125144" y="717264"/>
            <a:ext cx="3868862"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the neural network </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latin typeface="Segoe UI Light" pitchFamily="34" charset="0"/>
                <a:cs typeface="Segoe UI Light" pitchFamily="34" charset="0"/>
              </a:rPr>
              <a:t>1.4  2.7   1.9         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latin typeface="Segoe UI Light" pitchFamily="34" charset="0"/>
                <a:cs typeface="Segoe UI Light" pitchFamily="34" charset="0"/>
              </a:rPr>
              <a:t>6.4  2.8   1.7         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8559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5"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latin typeface="Segoe UI Light" pitchFamily="34" charset="0"/>
                <a:cs typeface="Segoe UI Light" pitchFamily="34" charset="0"/>
              </a:rPr>
              <a:t>1.4  2.7   1.9         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latin typeface="Segoe UI Light" pitchFamily="34" charset="0"/>
                <a:cs typeface="Segoe UI Light" pitchFamily="34" charset="0"/>
              </a:rPr>
              <a:t>6.4  2.8   1.7         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13316" name="TextBox 2"/>
          <p:cNvSpPr txBox="1">
            <a:spLocks noChangeArrowheads="1"/>
          </p:cNvSpPr>
          <p:nvPr/>
        </p:nvSpPr>
        <p:spPr bwMode="auto">
          <a:xfrm>
            <a:off x="6425483" y="974701"/>
            <a:ext cx="4336121"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Initialise with random weights</a:t>
            </a:r>
          </a:p>
        </p:txBody>
      </p:sp>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15730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39"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2.7   1.9         </a:t>
            </a:r>
            <a:r>
              <a:rPr lang="en-GB" altLang="en-US" sz="2448" dirty="0">
                <a:solidFill>
                  <a:srgbClr val="FF0000"/>
                </a:solidFill>
                <a:latin typeface="Segoe UI Light" pitchFamily="34" charset="0"/>
                <a:cs typeface="Segoe UI Light" pitchFamily="34" charset="0"/>
              </a:rPr>
              <a:t>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latin typeface="Segoe UI Light" pitchFamily="34" charset="0"/>
                <a:cs typeface="Segoe UI Light" pitchFamily="34" charset="0"/>
              </a:rPr>
              <a:t>6.4  2.8   1.7         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14340" name="TextBox 2"/>
          <p:cNvSpPr txBox="1">
            <a:spLocks noChangeArrowheads="1"/>
          </p:cNvSpPr>
          <p:nvPr/>
        </p:nvSpPr>
        <p:spPr bwMode="auto">
          <a:xfrm>
            <a:off x="6425482" y="974701"/>
            <a:ext cx="3730352"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Present a training pattern</a:t>
            </a:r>
          </a:p>
        </p:txBody>
      </p:sp>
      <p:sp>
        <p:nvSpPr>
          <p:cNvPr id="5" name="Rounded Rectangle 4"/>
          <p:cNvSpPr/>
          <p:nvPr/>
        </p:nvSpPr>
        <p:spPr>
          <a:xfrm>
            <a:off x="1977807" y="1444241"/>
            <a:ext cx="2802667" cy="45173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342" name="Rectangle 5"/>
          <p:cNvSpPr>
            <a:spLocks noChangeArrowheads="1"/>
          </p:cNvSpPr>
          <p:nvPr/>
        </p:nvSpPr>
        <p:spPr bwMode="auto">
          <a:xfrm>
            <a:off x="5466974" y="2537135"/>
            <a:ext cx="5075428"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7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9        </a:t>
            </a:r>
            <a:endParaRPr lang="en-GB" altLang="en-US" sz="2448" dirty="0">
              <a:solidFill>
                <a:srgbClr val="FF0000"/>
              </a:solidFill>
              <a:latin typeface="Segoe UI Light" pitchFamily="34" charset="0"/>
              <a:cs typeface="Segoe UI Light" pitchFamily="34" charset="0"/>
            </a:endParaRP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910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63"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2.7   1.9         </a:t>
            </a:r>
            <a:r>
              <a:rPr lang="en-GB" altLang="en-US" sz="2448" dirty="0">
                <a:solidFill>
                  <a:srgbClr val="FF0000"/>
                </a:solidFill>
                <a:latin typeface="Segoe UI Light" pitchFamily="34" charset="0"/>
                <a:cs typeface="Segoe UI Light" pitchFamily="34" charset="0"/>
              </a:rPr>
              <a:t>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latin typeface="Segoe UI Light" pitchFamily="34" charset="0"/>
                <a:cs typeface="Segoe UI Light" pitchFamily="34" charset="0"/>
              </a:rPr>
              <a:t>6.4  2.8   1.7         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15364" name="TextBox 2"/>
          <p:cNvSpPr txBox="1">
            <a:spLocks noChangeArrowheads="1"/>
          </p:cNvSpPr>
          <p:nvPr/>
        </p:nvSpPr>
        <p:spPr bwMode="auto">
          <a:xfrm>
            <a:off x="6425483" y="974701"/>
            <a:ext cx="4122731"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Feed it through to get output</a:t>
            </a:r>
          </a:p>
        </p:txBody>
      </p:sp>
      <p:sp>
        <p:nvSpPr>
          <p:cNvPr id="5" name="Rounded Rectangle 4"/>
          <p:cNvSpPr/>
          <p:nvPr/>
        </p:nvSpPr>
        <p:spPr>
          <a:xfrm>
            <a:off x="1977807" y="1444241"/>
            <a:ext cx="2802667" cy="45173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366" name="Rectangle 5"/>
          <p:cNvSpPr>
            <a:spLocks noChangeArrowheads="1"/>
          </p:cNvSpPr>
          <p:nvPr/>
        </p:nvSpPr>
        <p:spPr bwMode="auto">
          <a:xfrm>
            <a:off x="5466975" y="2537135"/>
            <a:ext cx="5469767"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7                                                    </a:t>
            </a:r>
            <a:r>
              <a:rPr lang="en-GB" altLang="en-US" sz="2448" b="1" dirty="0">
                <a:solidFill>
                  <a:srgbClr val="0033CC"/>
                </a:solidFill>
                <a:latin typeface="Segoe UI Light" pitchFamily="34" charset="0"/>
                <a:cs typeface="Segoe UI Light" pitchFamily="34" charset="0"/>
              </a:rPr>
              <a:t>0.8</a:t>
            </a:r>
            <a:endParaRPr lang="en-GB" altLang="en-US" sz="2448" dirty="0">
              <a:solidFill>
                <a:srgbClr val="0033CC"/>
              </a:solidFill>
              <a:latin typeface="Segoe UI Light" pitchFamily="34" charset="0"/>
              <a:cs typeface="Segoe UI Light" pitchFamily="34" charset="0"/>
            </a:endParaRP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9        </a:t>
            </a:r>
            <a:endParaRPr lang="en-GB" altLang="en-US" sz="2448" dirty="0">
              <a:solidFill>
                <a:srgbClr val="FF0000"/>
              </a:solidFill>
              <a:latin typeface="Segoe UI Light" pitchFamily="34" charset="0"/>
              <a:cs typeface="Segoe UI Light" pitchFamily="34" charset="0"/>
            </a:endParaRP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0943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7"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2.7   1.9         </a:t>
            </a:r>
            <a:r>
              <a:rPr lang="en-GB" altLang="en-US" sz="2448" dirty="0">
                <a:solidFill>
                  <a:srgbClr val="FF0000"/>
                </a:solidFill>
                <a:latin typeface="Segoe UI Light" pitchFamily="34" charset="0"/>
                <a:cs typeface="Segoe UI Light" pitchFamily="34" charset="0"/>
              </a:rPr>
              <a:t>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latin typeface="Segoe UI Light" pitchFamily="34" charset="0"/>
                <a:cs typeface="Segoe UI Light" pitchFamily="34" charset="0"/>
              </a:rPr>
              <a:t>6.4  2.8   1.7         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16388" name="TextBox 2"/>
          <p:cNvSpPr txBox="1">
            <a:spLocks noChangeArrowheads="1"/>
          </p:cNvSpPr>
          <p:nvPr/>
        </p:nvSpPr>
        <p:spPr bwMode="auto">
          <a:xfrm>
            <a:off x="6425482" y="974701"/>
            <a:ext cx="4031176"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Compare with target output</a:t>
            </a:r>
          </a:p>
        </p:txBody>
      </p:sp>
      <p:sp>
        <p:nvSpPr>
          <p:cNvPr id="5" name="Rounded Rectangle 4"/>
          <p:cNvSpPr/>
          <p:nvPr/>
        </p:nvSpPr>
        <p:spPr>
          <a:xfrm>
            <a:off x="1977807" y="1444241"/>
            <a:ext cx="2802667" cy="45173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390" name="Rectangle 5"/>
          <p:cNvSpPr>
            <a:spLocks noChangeArrowheads="1"/>
          </p:cNvSpPr>
          <p:nvPr/>
        </p:nvSpPr>
        <p:spPr bwMode="auto">
          <a:xfrm>
            <a:off x="5466974" y="2537135"/>
            <a:ext cx="5556329"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7                                                    </a:t>
            </a:r>
            <a:r>
              <a:rPr lang="en-GB" altLang="en-US" sz="2448" b="1" dirty="0">
                <a:solidFill>
                  <a:srgbClr val="0033CC"/>
                </a:solidFill>
                <a:latin typeface="Segoe UI Light" pitchFamily="34" charset="0"/>
                <a:cs typeface="Segoe UI Light" pitchFamily="34" charset="0"/>
              </a:rPr>
              <a:t>0.8 </a:t>
            </a:r>
            <a:endParaRPr lang="en-GB" altLang="en-US" sz="2448"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856" dirty="0">
                <a:solidFill>
                  <a:srgbClr val="0033CC"/>
                </a:solidFill>
                <a:latin typeface="Segoe UI Light" pitchFamily="34" charset="0"/>
                <a:cs typeface="Segoe UI Light" pitchFamily="34" charset="0"/>
              </a:rPr>
              <a:t>                                                  </a:t>
            </a:r>
            <a:r>
              <a:rPr lang="en-GB" altLang="en-US" sz="2856" b="1" dirty="0">
                <a:solidFill>
                  <a:srgbClr val="FF0000"/>
                </a:solidFill>
                <a:latin typeface="Segoe UI Light" pitchFamily="34" charset="0"/>
                <a:cs typeface="Segoe UI Light" pitchFamily="34" charset="0"/>
              </a:rPr>
              <a:t>0</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9                                           </a:t>
            </a:r>
            <a:r>
              <a:rPr lang="en-GB" altLang="en-US" sz="2448" i="1" dirty="0">
                <a:solidFill>
                  <a:srgbClr val="0033CC"/>
                </a:solidFill>
                <a:latin typeface="Segoe UI Light" pitchFamily="34" charset="0"/>
                <a:cs typeface="Segoe UI Light" pitchFamily="34" charset="0"/>
              </a:rPr>
              <a:t>error </a:t>
            </a:r>
            <a:r>
              <a:rPr lang="en-GB" altLang="en-US" sz="2448" dirty="0">
                <a:solidFill>
                  <a:srgbClr val="0033CC"/>
                </a:solidFill>
                <a:latin typeface="Segoe UI Light" pitchFamily="34" charset="0"/>
                <a:cs typeface="Segoe UI Light" pitchFamily="34" charset="0"/>
              </a:rPr>
              <a:t>0.8</a:t>
            </a:r>
            <a:endParaRPr lang="en-GB" altLang="en-US" sz="2448" dirty="0">
              <a:solidFill>
                <a:srgbClr val="FF0000"/>
              </a:solidFill>
              <a:latin typeface="Segoe UI Light" pitchFamily="34" charset="0"/>
              <a:cs typeface="Segoe UI Light" pitchFamily="34" charset="0"/>
            </a:endParaRP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8694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1200265" cy="1984408"/>
          </a:xfrm>
        </p:spPr>
        <p:txBody>
          <a:bodyPr>
            <a:normAutofit/>
          </a:bodyPr>
          <a:lstStyle/>
          <a:p>
            <a:pPr>
              <a:spcAft>
                <a:spcPts val="600"/>
              </a:spcAft>
            </a:pPr>
            <a:r>
              <a:rPr lang="en-US" sz="7000" b="1" dirty="0">
                <a:solidFill>
                  <a:schemeClr val="bg1"/>
                </a:solidFill>
              </a:rPr>
              <a:t>Introduction to Deep Learning</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363506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1"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2.7   1.9         </a:t>
            </a:r>
            <a:r>
              <a:rPr lang="en-GB" altLang="en-US" sz="2448" dirty="0">
                <a:solidFill>
                  <a:srgbClr val="FF0000"/>
                </a:solidFill>
                <a:latin typeface="Segoe UI Light" pitchFamily="34" charset="0"/>
                <a:cs typeface="Segoe UI Light" pitchFamily="34" charset="0"/>
              </a:rPr>
              <a:t>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latin typeface="Segoe UI Light" pitchFamily="34" charset="0"/>
                <a:cs typeface="Segoe UI Light" pitchFamily="34" charset="0"/>
              </a:rPr>
              <a:t>6.4  2.8   1.7         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17412" name="TextBox 2"/>
          <p:cNvSpPr txBox="1">
            <a:spLocks noChangeArrowheads="1"/>
          </p:cNvSpPr>
          <p:nvPr/>
        </p:nvSpPr>
        <p:spPr bwMode="auto">
          <a:xfrm>
            <a:off x="6425482" y="974701"/>
            <a:ext cx="4307477"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Adjust weights based on error</a:t>
            </a:r>
          </a:p>
        </p:txBody>
      </p:sp>
      <p:sp>
        <p:nvSpPr>
          <p:cNvPr id="5" name="Rounded Rectangle 4"/>
          <p:cNvSpPr/>
          <p:nvPr/>
        </p:nvSpPr>
        <p:spPr>
          <a:xfrm>
            <a:off x="1977807" y="1444241"/>
            <a:ext cx="2802667" cy="45173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414" name="Rectangle 5"/>
          <p:cNvSpPr>
            <a:spLocks noChangeArrowheads="1"/>
          </p:cNvSpPr>
          <p:nvPr/>
        </p:nvSpPr>
        <p:spPr bwMode="auto">
          <a:xfrm>
            <a:off x="5466975" y="2537135"/>
            <a:ext cx="9462847"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1.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7                                                    </a:t>
            </a:r>
            <a:r>
              <a:rPr lang="en-GB" altLang="en-US" sz="2448" b="1" dirty="0">
                <a:solidFill>
                  <a:srgbClr val="0033CC"/>
                </a:solidFill>
                <a:latin typeface="Segoe UI Light" pitchFamily="34" charset="0"/>
                <a:cs typeface="Segoe UI Light" pitchFamily="34" charset="0"/>
              </a:rPr>
              <a:t>0.8 </a:t>
            </a:r>
            <a:endParaRPr lang="en-GB" altLang="en-US" sz="2448"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856" dirty="0">
                <a:solidFill>
                  <a:srgbClr val="0033CC"/>
                </a:solidFill>
                <a:latin typeface="Segoe UI Light" pitchFamily="34" charset="0"/>
                <a:cs typeface="Segoe UI Light" pitchFamily="34" charset="0"/>
              </a:rPr>
              <a:t>                                                  </a:t>
            </a:r>
            <a:r>
              <a:rPr lang="en-GB" altLang="en-US" sz="2856" b="1" dirty="0">
                <a:solidFill>
                  <a:srgbClr val="FF0000"/>
                </a:solidFill>
                <a:latin typeface="Segoe UI Light" pitchFamily="34" charset="0"/>
                <a:cs typeface="Segoe UI Light" pitchFamily="34" charset="0"/>
              </a:rPr>
              <a:t>0                                        </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9                                           </a:t>
            </a:r>
            <a:r>
              <a:rPr lang="en-GB" altLang="en-US" sz="2448" i="1" dirty="0">
                <a:solidFill>
                  <a:srgbClr val="0033CC"/>
                </a:solidFill>
                <a:latin typeface="Segoe UI Light" pitchFamily="34" charset="0"/>
                <a:cs typeface="Segoe UI Light" pitchFamily="34" charset="0"/>
              </a:rPr>
              <a:t>error </a:t>
            </a:r>
            <a:r>
              <a:rPr lang="en-GB" altLang="en-US" sz="2448" dirty="0">
                <a:solidFill>
                  <a:srgbClr val="0033CC"/>
                </a:solidFill>
                <a:latin typeface="Segoe UI Light" pitchFamily="34" charset="0"/>
                <a:cs typeface="Segoe UI Light" pitchFamily="34" charset="0"/>
              </a:rPr>
              <a:t>0.8</a:t>
            </a:r>
            <a:endParaRPr lang="en-GB" altLang="en-US" sz="2448" dirty="0">
              <a:solidFill>
                <a:srgbClr val="FF0000"/>
              </a:solidFill>
              <a:latin typeface="Segoe UI Light" pitchFamily="34" charset="0"/>
              <a:cs typeface="Segoe UI Light" pitchFamily="34" charset="0"/>
            </a:endParaRPr>
          </a:p>
        </p:txBody>
      </p:sp>
      <p:pic>
        <p:nvPicPr>
          <p:cNvPr id="17415" name="Picture 4" descr="File:Hamme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08417" y="2507992"/>
            <a:ext cx="841934" cy="702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4" descr="File:Hammer.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4733" y="3587932"/>
            <a:ext cx="754502" cy="629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3756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5"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latin typeface="Segoe UI Light" pitchFamily="34" charset="0"/>
                <a:cs typeface="Segoe UI Light" pitchFamily="34" charset="0"/>
              </a:rPr>
              <a:t>1.4  2.7   1.9         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solidFill>
                  <a:schemeClr val="accent2"/>
                </a:solidFill>
                <a:latin typeface="Segoe UI Light" pitchFamily="34" charset="0"/>
                <a:cs typeface="Segoe UI Light" pitchFamily="34" charset="0"/>
              </a:rPr>
              <a:t>6.4  2.8   1.7         </a:t>
            </a:r>
            <a:r>
              <a:rPr lang="en-GB" altLang="en-US" sz="2448" dirty="0">
                <a:solidFill>
                  <a:srgbClr val="FF0000"/>
                </a:solidFill>
                <a:latin typeface="Segoe UI Light" pitchFamily="34" charset="0"/>
                <a:cs typeface="Segoe UI Light" pitchFamily="34" charset="0"/>
              </a:rPr>
              <a:t>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18436" name="TextBox 2"/>
          <p:cNvSpPr txBox="1">
            <a:spLocks noChangeArrowheads="1"/>
          </p:cNvSpPr>
          <p:nvPr/>
        </p:nvSpPr>
        <p:spPr bwMode="auto">
          <a:xfrm>
            <a:off x="6425482" y="974701"/>
            <a:ext cx="3730352"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Present a training pattern</a:t>
            </a:r>
          </a:p>
        </p:txBody>
      </p:sp>
      <p:sp>
        <p:nvSpPr>
          <p:cNvPr id="5" name="Rounded Rectangle 4"/>
          <p:cNvSpPr/>
          <p:nvPr/>
        </p:nvSpPr>
        <p:spPr>
          <a:xfrm>
            <a:off x="1977807" y="2201981"/>
            <a:ext cx="2802667" cy="4501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438" name="Rectangle 5"/>
          <p:cNvSpPr>
            <a:spLocks noChangeArrowheads="1"/>
          </p:cNvSpPr>
          <p:nvPr/>
        </p:nvSpPr>
        <p:spPr bwMode="auto">
          <a:xfrm>
            <a:off x="5466974" y="2537135"/>
            <a:ext cx="5080237"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6.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8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7        </a:t>
            </a:r>
            <a:endParaRPr lang="en-GB" altLang="en-US" sz="2448" dirty="0">
              <a:solidFill>
                <a:srgbClr val="FF0000"/>
              </a:solidFill>
              <a:latin typeface="Segoe UI Light" pitchFamily="34" charset="0"/>
              <a:cs typeface="Segoe UI Light" pitchFamily="34" charset="0"/>
            </a:endParaRP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73205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459"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latin typeface="Segoe UI Light" pitchFamily="34" charset="0"/>
                <a:cs typeface="Segoe UI Light" pitchFamily="34" charset="0"/>
              </a:rPr>
              <a:t>1.4  2.7   1.9         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solidFill>
                  <a:schemeClr val="accent2"/>
                </a:solidFill>
                <a:latin typeface="Segoe UI Light" pitchFamily="34" charset="0"/>
                <a:cs typeface="Segoe UI Light" pitchFamily="34" charset="0"/>
              </a:rPr>
              <a:t>6.4  2.8   1.7         </a:t>
            </a:r>
            <a:r>
              <a:rPr lang="en-GB" altLang="en-US" sz="2448" dirty="0">
                <a:solidFill>
                  <a:srgbClr val="FF0000"/>
                </a:solidFill>
                <a:latin typeface="Segoe UI Light" pitchFamily="34" charset="0"/>
                <a:cs typeface="Segoe UI Light" pitchFamily="34" charset="0"/>
              </a:rPr>
              <a:t>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19460" name="TextBox 2"/>
          <p:cNvSpPr txBox="1">
            <a:spLocks noChangeArrowheads="1"/>
          </p:cNvSpPr>
          <p:nvPr/>
        </p:nvSpPr>
        <p:spPr bwMode="auto">
          <a:xfrm>
            <a:off x="6425483" y="974701"/>
            <a:ext cx="4122731"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Feed it through to get output</a:t>
            </a:r>
          </a:p>
        </p:txBody>
      </p:sp>
      <p:sp>
        <p:nvSpPr>
          <p:cNvPr id="5" name="Rounded Rectangle 4"/>
          <p:cNvSpPr/>
          <p:nvPr/>
        </p:nvSpPr>
        <p:spPr>
          <a:xfrm>
            <a:off x="1977807" y="2201981"/>
            <a:ext cx="2802667" cy="4501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462" name="Rectangle 5"/>
          <p:cNvSpPr>
            <a:spLocks noChangeArrowheads="1"/>
          </p:cNvSpPr>
          <p:nvPr/>
        </p:nvSpPr>
        <p:spPr bwMode="auto">
          <a:xfrm>
            <a:off x="5466974" y="2537135"/>
            <a:ext cx="9975808"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6.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8                                                     0.9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7        </a:t>
            </a:r>
            <a:endParaRPr lang="en-GB" altLang="en-US" sz="2448" dirty="0">
              <a:solidFill>
                <a:srgbClr val="FF0000"/>
              </a:solidFill>
              <a:latin typeface="Segoe UI Light" pitchFamily="34" charset="0"/>
              <a:cs typeface="Segoe UI Light" pitchFamily="34" charset="0"/>
            </a:endParaRP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38061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83"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mj-lt"/>
                <a:cs typeface="Segoe UI Light" pitchFamily="34" charset="0"/>
              </a:rPr>
              <a:t>Training data</a:t>
            </a:r>
          </a:p>
          <a:p>
            <a:pPr eaLnBrk="1" hangingPunct="1">
              <a:spcBef>
                <a:spcPct val="0"/>
              </a:spcBef>
              <a:buFontTx/>
              <a:buNone/>
            </a:pPr>
            <a:r>
              <a:rPr lang="en-GB" altLang="en-US" sz="2448" i="1" dirty="0">
                <a:latin typeface="+mj-lt"/>
                <a:cs typeface="Segoe UI Light" pitchFamily="34" charset="0"/>
              </a:rPr>
              <a:t>Fields               class</a:t>
            </a:r>
          </a:p>
          <a:p>
            <a:pPr eaLnBrk="1" hangingPunct="1">
              <a:spcBef>
                <a:spcPct val="0"/>
              </a:spcBef>
              <a:buFontTx/>
              <a:buNone/>
            </a:pPr>
            <a:r>
              <a:rPr lang="en-GB" altLang="en-US" sz="2448" dirty="0">
                <a:latin typeface="+mj-lt"/>
                <a:cs typeface="Segoe UI Light" pitchFamily="34" charset="0"/>
              </a:rPr>
              <a:t>1.4  2.7   1.9         0</a:t>
            </a:r>
          </a:p>
          <a:p>
            <a:pPr eaLnBrk="1" hangingPunct="1">
              <a:spcBef>
                <a:spcPct val="0"/>
              </a:spcBef>
              <a:buFontTx/>
              <a:buNone/>
            </a:pPr>
            <a:r>
              <a:rPr lang="en-GB" altLang="en-US" sz="2448" dirty="0">
                <a:latin typeface="+mj-lt"/>
                <a:cs typeface="Segoe UI Light" pitchFamily="34" charset="0"/>
              </a:rPr>
              <a:t>3.8  3.4   3.2         0</a:t>
            </a:r>
          </a:p>
          <a:p>
            <a:pPr eaLnBrk="1" hangingPunct="1">
              <a:spcBef>
                <a:spcPct val="0"/>
              </a:spcBef>
              <a:buFontTx/>
              <a:buNone/>
            </a:pPr>
            <a:r>
              <a:rPr lang="en-GB" altLang="en-US" sz="2448" dirty="0">
                <a:solidFill>
                  <a:schemeClr val="accent2"/>
                </a:solidFill>
                <a:latin typeface="+mj-lt"/>
                <a:cs typeface="Segoe UI Light" pitchFamily="34" charset="0"/>
              </a:rPr>
              <a:t>6.4  2.8   1.7         </a:t>
            </a:r>
            <a:r>
              <a:rPr lang="en-GB" altLang="en-US" sz="2448" dirty="0">
                <a:solidFill>
                  <a:srgbClr val="FF0000"/>
                </a:solidFill>
                <a:latin typeface="+mj-lt"/>
                <a:cs typeface="Segoe UI Light" pitchFamily="34" charset="0"/>
              </a:rPr>
              <a:t>1</a:t>
            </a:r>
          </a:p>
          <a:p>
            <a:pPr eaLnBrk="1" hangingPunct="1">
              <a:spcBef>
                <a:spcPct val="0"/>
              </a:spcBef>
              <a:buFontTx/>
              <a:buNone/>
            </a:pPr>
            <a:r>
              <a:rPr lang="en-GB" altLang="en-US" sz="2448" dirty="0">
                <a:latin typeface="+mj-lt"/>
                <a:cs typeface="Segoe UI Light" pitchFamily="34" charset="0"/>
              </a:rPr>
              <a:t>4.1  0.1   0.2         0</a:t>
            </a:r>
          </a:p>
          <a:p>
            <a:pPr eaLnBrk="1" hangingPunct="1">
              <a:spcBef>
                <a:spcPct val="0"/>
              </a:spcBef>
              <a:buFontTx/>
              <a:buNone/>
            </a:pPr>
            <a:r>
              <a:rPr lang="en-GB" altLang="en-US" sz="2448" dirty="0">
                <a:latin typeface="+mj-lt"/>
                <a:cs typeface="Segoe UI Light" pitchFamily="34" charset="0"/>
              </a:rPr>
              <a:t>etc …</a:t>
            </a:r>
          </a:p>
        </p:txBody>
      </p:sp>
      <p:sp>
        <p:nvSpPr>
          <p:cNvPr id="20484" name="TextBox 2"/>
          <p:cNvSpPr txBox="1">
            <a:spLocks noChangeArrowheads="1"/>
          </p:cNvSpPr>
          <p:nvPr/>
        </p:nvSpPr>
        <p:spPr bwMode="auto">
          <a:xfrm>
            <a:off x="6425482" y="974701"/>
            <a:ext cx="4031176"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Compare with target output</a:t>
            </a:r>
          </a:p>
        </p:txBody>
      </p:sp>
      <p:sp>
        <p:nvSpPr>
          <p:cNvPr id="5" name="Rounded Rectangle 4"/>
          <p:cNvSpPr/>
          <p:nvPr/>
        </p:nvSpPr>
        <p:spPr>
          <a:xfrm>
            <a:off x="1977807" y="2201981"/>
            <a:ext cx="2802667" cy="4501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486" name="Rectangle 5"/>
          <p:cNvSpPr>
            <a:spLocks noChangeArrowheads="1"/>
          </p:cNvSpPr>
          <p:nvPr/>
        </p:nvSpPr>
        <p:spPr bwMode="auto">
          <a:xfrm>
            <a:off x="5466974" y="2537135"/>
            <a:ext cx="9975808"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6.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8                                                     0.9                                                   </a:t>
            </a:r>
          </a:p>
          <a:p>
            <a:pPr eaLnBrk="1" hangingPunct="1">
              <a:spcBef>
                <a:spcPct val="0"/>
              </a:spcBef>
              <a:buFontTx/>
              <a:buNone/>
            </a:pPr>
            <a:r>
              <a:rPr lang="en-GB" altLang="en-US" sz="2856" dirty="0">
                <a:solidFill>
                  <a:srgbClr val="0033CC"/>
                </a:solidFill>
                <a:latin typeface="Segoe UI Light" pitchFamily="34" charset="0"/>
                <a:cs typeface="Segoe UI Light" pitchFamily="34" charset="0"/>
              </a:rPr>
              <a:t>                                                  </a:t>
            </a:r>
            <a:r>
              <a:rPr lang="en-GB" altLang="en-US" sz="2856" dirty="0">
                <a:solidFill>
                  <a:srgbClr val="FF0000"/>
                </a:solidFill>
                <a:latin typeface="Segoe UI Light" pitchFamily="34" charset="0"/>
                <a:cs typeface="Segoe UI Light" pitchFamily="34" charset="0"/>
              </a:rPr>
              <a:t>1</a:t>
            </a:r>
            <a:r>
              <a:rPr lang="en-GB" altLang="en-US" sz="2856" dirty="0">
                <a:solidFill>
                  <a:srgbClr val="0033CC"/>
                </a:solidFill>
                <a:latin typeface="Segoe UI Light" pitchFamily="34" charset="0"/>
                <a:cs typeface="Segoe UI Light" pitchFamily="34" charset="0"/>
              </a:rPr>
              <a:t>  </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7                                          </a:t>
            </a:r>
            <a:r>
              <a:rPr lang="en-GB" altLang="en-US" sz="2448" i="1" dirty="0">
                <a:solidFill>
                  <a:srgbClr val="0033CC"/>
                </a:solidFill>
                <a:latin typeface="Segoe UI Light" pitchFamily="34" charset="0"/>
                <a:cs typeface="Segoe UI Light" pitchFamily="34" charset="0"/>
              </a:rPr>
              <a:t>error</a:t>
            </a:r>
            <a:r>
              <a:rPr lang="en-GB" altLang="en-US" sz="2448" dirty="0">
                <a:solidFill>
                  <a:srgbClr val="0033CC"/>
                </a:solidFill>
                <a:latin typeface="Segoe UI Light" pitchFamily="34" charset="0"/>
                <a:cs typeface="Segoe UI Light" pitchFamily="34" charset="0"/>
              </a:rPr>
              <a:t>  -0.1</a:t>
            </a:r>
            <a:endParaRPr lang="en-GB" altLang="en-US" sz="2448" dirty="0">
              <a:solidFill>
                <a:srgbClr val="FF0000"/>
              </a:solidFill>
              <a:latin typeface="Segoe UI Light" pitchFamily="34" charset="0"/>
              <a:cs typeface="Segoe UI Light" pitchFamily="34" charset="0"/>
            </a:endParaRP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847396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0922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531"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a:t>
            </a:r>
            <a:r>
              <a:rPr lang="en-GB" altLang="en-US" sz="2448" b="1" i="1" dirty="0">
                <a:latin typeface="Segoe UI Light" pitchFamily="34" charset="0"/>
                <a:cs typeface="Segoe UI Light" pitchFamily="34" charset="0"/>
              </a:rPr>
              <a:t>            </a:t>
            </a:r>
            <a:r>
              <a:rPr lang="en-GB" altLang="en-US" sz="2448" i="1" dirty="0">
                <a:latin typeface="Segoe UI Light" pitchFamily="34" charset="0"/>
                <a:cs typeface="Segoe UI Light" pitchFamily="34" charset="0"/>
              </a:rPr>
              <a:t>class</a:t>
            </a:r>
          </a:p>
          <a:p>
            <a:pPr eaLnBrk="1" hangingPunct="1">
              <a:spcBef>
                <a:spcPct val="0"/>
              </a:spcBef>
              <a:buFontTx/>
              <a:buNone/>
            </a:pPr>
            <a:r>
              <a:rPr lang="en-GB" altLang="en-US" sz="2448" dirty="0">
                <a:latin typeface="Segoe UI Light" pitchFamily="34" charset="0"/>
                <a:cs typeface="Segoe UI Light" pitchFamily="34" charset="0"/>
              </a:rPr>
              <a:t>1.4  2.7   1.9         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solidFill>
                  <a:schemeClr val="accent2"/>
                </a:solidFill>
                <a:latin typeface="Segoe UI Light" pitchFamily="34" charset="0"/>
                <a:cs typeface="Segoe UI Light" pitchFamily="34" charset="0"/>
              </a:rPr>
              <a:t>6.4  2.8   1.7         </a:t>
            </a:r>
            <a:r>
              <a:rPr lang="en-GB" altLang="en-US" sz="2448" dirty="0">
                <a:solidFill>
                  <a:srgbClr val="FF0000"/>
                </a:solidFill>
                <a:latin typeface="Segoe UI Light" pitchFamily="34" charset="0"/>
                <a:cs typeface="Segoe UI Light" pitchFamily="34" charset="0"/>
              </a:rPr>
              <a:t>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22532" name="TextBox 2"/>
          <p:cNvSpPr txBox="1">
            <a:spLocks noChangeArrowheads="1"/>
          </p:cNvSpPr>
          <p:nvPr/>
        </p:nvSpPr>
        <p:spPr bwMode="auto">
          <a:xfrm>
            <a:off x="6425484" y="974701"/>
            <a:ext cx="2039065"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And so on ….</a:t>
            </a:r>
          </a:p>
        </p:txBody>
      </p:sp>
      <p:sp>
        <p:nvSpPr>
          <p:cNvPr id="5" name="Rounded Rectangle 4"/>
          <p:cNvSpPr/>
          <p:nvPr/>
        </p:nvSpPr>
        <p:spPr>
          <a:xfrm>
            <a:off x="1977807" y="2201981"/>
            <a:ext cx="2802667" cy="4501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534" name="Rectangle 5"/>
          <p:cNvSpPr>
            <a:spLocks noChangeArrowheads="1"/>
          </p:cNvSpPr>
          <p:nvPr/>
        </p:nvSpPr>
        <p:spPr bwMode="auto">
          <a:xfrm>
            <a:off x="5466974" y="2537135"/>
            <a:ext cx="9975808"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6.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8                                                     0.9                                                   </a:t>
            </a:r>
          </a:p>
          <a:p>
            <a:pPr eaLnBrk="1" hangingPunct="1">
              <a:spcBef>
                <a:spcPct val="0"/>
              </a:spcBef>
              <a:buFontTx/>
              <a:buNone/>
            </a:pPr>
            <a:r>
              <a:rPr lang="en-GB" altLang="en-US" sz="2856" dirty="0">
                <a:solidFill>
                  <a:srgbClr val="0033CC"/>
                </a:solidFill>
                <a:latin typeface="Segoe UI Light" pitchFamily="34" charset="0"/>
                <a:cs typeface="Segoe UI Light" pitchFamily="34" charset="0"/>
              </a:rPr>
              <a:t>                                                  </a:t>
            </a:r>
            <a:r>
              <a:rPr lang="en-GB" altLang="en-US" sz="2856" dirty="0">
                <a:solidFill>
                  <a:srgbClr val="FF0000"/>
                </a:solidFill>
                <a:latin typeface="Segoe UI Light" pitchFamily="34" charset="0"/>
                <a:cs typeface="Segoe UI Light" pitchFamily="34" charset="0"/>
              </a:rPr>
              <a:t>1</a:t>
            </a:r>
            <a:r>
              <a:rPr lang="en-GB" altLang="en-US" sz="2856" dirty="0">
                <a:solidFill>
                  <a:srgbClr val="0033CC"/>
                </a:solidFill>
                <a:latin typeface="Segoe UI Light" pitchFamily="34" charset="0"/>
                <a:cs typeface="Segoe UI Light" pitchFamily="34" charset="0"/>
              </a:rPr>
              <a:t>  </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7                                          </a:t>
            </a:r>
            <a:r>
              <a:rPr lang="en-GB" altLang="en-US" sz="2448" i="1" dirty="0">
                <a:solidFill>
                  <a:srgbClr val="0033CC"/>
                </a:solidFill>
                <a:latin typeface="Segoe UI Light" pitchFamily="34" charset="0"/>
                <a:cs typeface="Segoe UI Light" pitchFamily="34" charset="0"/>
              </a:rPr>
              <a:t>error</a:t>
            </a:r>
            <a:r>
              <a:rPr lang="en-GB" altLang="en-US" sz="2448" dirty="0">
                <a:solidFill>
                  <a:srgbClr val="0033CC"/>
                </a:solidFill>
                <a:latin typeface="Segoe UI Light" pitchFamily="34" charset="0"/>
                <a:cs typeface="Segoe UI Light" pitchFamily="34" charset="0"/>
              </a:rPr>
              <a:t>  -0.1</a:t>
            </a:r>
            <a:endParaRPr lang="en-GB" altLang="en-US" sz="2448" dirty="0">
              <a:solidFill>
                <a:srgbClr val="FF0000"/>
              </a:solidFill>
              <a:latin typeface="Segoe UI Light" pitchFamily="34" charset="0"/>
              <a:cs typeface="Segoe UI Light" pitchFamily="34" charset="0"/>
            </a:endParaRPr>
          </a:p>
        </p:txBody>
      </p:sp>
      <p:pic>
        <p:nvPicPr>
          <p:cNvPr id="22535" name="Picture 4" descr="File:Hamme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76002">
            <a:off x="6864260" y="3215539"/>
            <a:ext cx="840314" cy="702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6" name="Picture 4" descr="File:Hamme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76002" flipH="1" flipV="1">
            <a:off x="8415360" y="2893339"/>
            <a:ext cx="718882" cy="599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2633544" y="4912358"/>
            <a:ext cx="6204828" cy="1534858"/>
          </a:xfrm>
          <a:prstGeom prst="rect">
            <a:avLst/>
          </a:prstGeom>
          <a:solidFill>
            <a:srgbClr val="FFC000"/>
          </a:solidFill>
        </p:spPr>
        <p:txBody>
          <a:bodyPr wrap="none">
            <a:spAutoFit/>
          </a:bodyPr>
          <a:lstStyle/>
          <a:p>
            <a:pPr>
              <a:defRPr/>
            </a:pPr>
            <a:r>
              <a:rPr lang="en-GB" sz="1836" b="1" dirty="0">
                <a:solidFill>
                  <a:schemeClr val="bg1"/>
                </a:solidFill>
                <a:latin typeface="Times New Roman" charset="0"/>
                <a:cs typeface="Arial" charset="0"/>
              </a:rPr>
              <a:t>Repeat this thousands, maybe millions of times – each time</a:t>
            </a:r>
          </a:p>
          <a:p>
            <a:pPr>
              <a:defRPr/>
            </a:pPr>
            <a:r>
              <a:rPr lang="en-GB" sz="1836" b="1" dirty="0">
                <a:solidFill>
                  <a:schemeClr val="bg1"/>
                </a:solidFill>
                <a:latin typeface="Times New Roman" charset="0"/>
                <a:cs typeface="Arial" charset="0"/>
              </a:rPr>
              <a:t>taking a random training instance, and making slight </a:t>
            </a:r>
          </a:p>
          <a:p>
            <a:pPr>
              <a:defRPr/>
            </a:pPr>
            <a:r>
              <a:rPr lang="en-GB" sz="1836" b="1" dirty="0">
                <a:solidFill>
                  <a:schemeClr val="bg1"/>
                </a:solidFill>
                <a:latin typeface="Times New Roman" charset="0"/>
                <a:cs typeface="Arial" charset="0"/>
              </a:rPr>
              <a:t>weight adjustments</a:t>
            </a:r>
          </a:p>
          <a:p>
            <a:pPr>
              <a:defRPr/>
            </a:pPr>
            <a:r>
              <a:rPr lang="en-GB" sz="1836" b="1" dirty="0">
                <a:solidFill>
                  <a:schemeClr val="accent4">
                    <a:lumMod val="95000"/>
                    <a:lumOff val="5000"/>
                  </a:schemeClr>
                </a:solidFill>
                <a:latin typeface="Times New Roman" charset="0"/>
                <a:cs typeface="Arial" charset="0"/>
              </a:rPr>
              <a:t>  </a:t>
            </a:r>
            <a:r>
              <a:rPr lang="en-GB" sz="1836" b="1" i="1" dirty="0">
                <a:solidFill>
                  <a:schemeClr val="accent4">
                    <a:lumMod val="95000"/>
                    <a:lumOff val="5000"/>
                  </a:schemeClr>
                </a:solidFill>
                <a:latin typeface="Times New Roman" charset="0"/>
                <a:cs typeface="Arial" charset="0"/>
              </a:rPr>
              <a:t>Algorithms for weight adjustment are designed to make</a:t>
            </a:r>
          </a:p>
          <a:p>
            <a:pPr>
              <a:defRPr/>
            </a:pPr>
            <a:r>
              <a:rPr lang="en-GB" sz="1836" b="1" i="1" dirty="0">
                <a:solidFill>
                  <a:schemeClr val="accent4">
                    <a:lumMod val="95000"/>
                    <a:lumOff val="5000"/>
                  </a:schemeClr>
                </a:solidFill>
                <a:latin typeface="Times New Roman" charset="0"/>
                <a:cs typeface="Arial" charset="0"/>
              </a:rPr>
              <a:t>changes that will reduce the error</a:t>
            </a:r>
            <a:endParaRPr lang="en-GB" sz="1836" b="1" dirty="0">
              <a:solidFill>
                <a:schemeClr val="accent4">
                  <a:lumMod val="95000"/>
                  <a:lumOff val="5000"/>
                </a:schemeClr>
              </a:solidFill>
              <a:latin typeface="Times New Roman" charset="0"/>
              <a:cs typeface="Arial" charset="0"/>
            </a:endParaRPr>
          </a:p>
        </p:txBody>
      </p:sp>
      <p:pic>
        <p:nvPicPr>
          <p:cNvPr id="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1725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901" y="2428656"/>
            <a:ext cx="3869656" cy="2451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507" name="TextBox 1"/>
          <p:cNvSpPr txBox="1">
            <a:spLocks noChangeArrowheads="1"/>
          </p:cNvSpPr>
          <p:nvPr/>
        </p:nvSpPr>
        <p:spPr bwMode="auto">
          <a:xfrm>
            <a:off x="2125146" y="717264"/>
            <a:ext cx="2846714" cy="2783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i="1" dirty="0">
                <a:latin typeface="Segoe UI Light" pitchFamily="34" charset="0"/>
                <a:cs typeface="Segoe UI Light" pitchFamily="34" charset="0"/>
              </a:rPr>
              <a:t>Training data</a:t>
            </a:r>
          </a:p>
          <a:p>
            <a:pPr eaLnBrk="1" hangingPunct="1">
              <a:spcBef>
                <a:spcPct val="0"/>
              </a:spcBef>
              <a:buFontTx/>
              <a:buNone/>
            </a:pPr>
            <a:r>
              <a:rPr lang="en-GB" altLang="en-US" sz="2448" i="1" dirty="0">
                <a:latin typeface="Segoe UI Light" pitchFamily="34" charset="0"/>
                <a:cs typeface="Segoe UI Light" pitchFamily="34" charset="0"/>
              </a:rPr>
              <a:t>Fields               class</a:t>
            </a:r>
          </a:p>
          <a:p>
            <a:pPr eaLnBrk="1" hangingPunct="1">
              <a:spcBef>
                <a:spcPct val="0"/>
              </a:spcBef>
              <a:buFontTx/>
              <a:buNone/>
            </a:pPr>
            <a:r>
              <a:rPr lang="en-GB" altLang="en-US" sz="2448" dirty="0">
                <a:latin typeface="Segoe UI Light" pitchFamily="34" charset="0"/>
                <a:cs typeface="Segoe UI Light" pitchFamily="34" charset="0"/>
              </a:rPr>
              <a:t>1.4  2.7   1.9         0</a:t>
            </a:r>
          </a:p>
          <a:p>
            <a:pPr eaLnBrk="1" hangingPunct="1">
              <a:spcBef>
                <a:spcPct val="0"/>
              </a:spcBef>
              <a:buFontTx/>
              <a:buNone/>
            </a:pPr>
            <a:r>
              <a:rPr lang="en-GB" altLang="en-US" sz="2448" dirty="0">
                <a:latin typeface="Segoe UI Light" pitchFamily="34" charset="0"/>
                <a:cs typeface="Segoe UI Light" pitchFamily="34" charset="0"/>
              </a:rPr>
              <a:t>3.8  3.4   3.2         0</a:t>
            </a:r>
          </a:p>
          <a:p>
            <a:pPr eaLnBrk="1" hangingPunct="1">
              <a:spcBef>
                <a:spcPct val="0"/>
              </a:spcBef>
              <a:buFontTx/>
              <a:buNone/>
            </a:pPr>
            <a:r>
              <a:rPr lang="en-GB" altLang="en-US" sz="2448" dirty="0">
                <a:solidFill>
                  <a:schemeClr val="accent2"/>
                </a:solidFill>
                <a:latin typeface="Segoe UI Light" pitchFamily="34" charset="0"/>
                <a:cs typeface="Segoe UI Light" pitchFamily="34" charset="0"/>
              </a:rPr>
              <a:t>6.4  2.8   1.7         </a:t>
            </a:r>
            <a:r>
              <a:rPr lang="en-GB" altLang="en-US" sz="2448" dirty="0">
                <a:solidFill>
                  <a:srgbClr val="FF0000"/>
                </a:solidFill>
                <a:latin typeface="Segoe UI Light" pitchFamily="34" charset="0"/>
                <a:cs typeface="Segoe UI Light" pitchFamily="34" charset="0"/>
              </a:rPr>
              <a:t>1</a:t>
            </a:r>
          </a:p>
          <a:p>
            <a:pPr eaLnBrk="1" hangingPunct="1">
              <a:spcBef>
                <a:spcPct val="0"/>
              </a:spcBef>
              <a:buFontTx/>
              <a:buNone/>
            </a:pPr>
            <a:r>
              <a:rPr lang="en-GB" altLang="en-US" sz="2448" dirty="0">
                <a:latin typeface="Segoe UI Light" pitchFamily="34" charset="0"/>
                <a:cs typeface="Segoe UI Light" pitchFamily="34" charset="0"/>
              </a:rPr>
              <a:t>4.1  0.1   0.2         0</a:t>
            </a:r>
          </a:p>
          <a:p>
            <a:pPr eaLnBrk="1" hangingPunct="1">
              <a:spcBef>
                <a:spcPct val="0"/>
              </a:spcBef>
              <a:buFontTx/>
              <a:buNone/>
            </a:pPr>
            <a:r>
              <a:rPr lang="en-GB" altLang="en-US" sz="2448" dirty="0">
                <a:latin typeface="Segoe UI Light" pitchFamily="34" charset="0"/>
                <a:cs typeface="Segoe UI Light" pitchFamily="34" charset="0"/>
              </a:rPr>
              <a:t>etc …</a:t>
            </a:r>
          </a:p>
        </p:txBody>
      </p:sp>
      <p:sp>
        <p:nvSpPr>
          <p:cNvPr id="21508" name="TextBox 2"/>
          <p:cNvSpPr txBox="1">
            <a:spLocks noChangeArrowheads="1"/>
          </p:cNvSpPr>
          <p:nvPr/>
        </p:nvSpPr>
        <p:spPr bwMode="auto">
          <a:xfrm>
            <a:off x="6425482" y="974701"/>
            <a:ext cx="4307477"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Adjust weights based on error</a:t>
            </a:r>
          </a:p>
        </p:txBody>
      </p:sp>
      <p:sp>
        <p:nvSpPr>
          <p:cNvPr id="5" name="Rounded Rectangle 4"/>
          <p:cNvSpPr/>
          <p:nvPr/>
        </p:nvSpPr>
        <p:spPr>
          <a:xfrm>
            <a:off x="1977807" y="2201981"/>
            <a:ext cx="2802667" cy="4501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510" name="Rectangle 5"/>
          <p:cNvSpPr>
            <a:spLocks noChangeArrowheads="1"/>
          </p:cNvSpPr>
          <p:nvPr/>
        </p:nvSpPr>
        <p:spPr bwMode="auto">
          <a:xfrm>
            <a:off x="5466974" y="2537135"/>
            <a:ext cx="9975808" cy="2101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solidFill>
                  <a:srgbClr val="0033CC"/>
                </a:solidFill>
                <a:latin typeface="Segoe UI Light" pitchFamily="34" charset="0"/>
                <a:cs typeface="Segoe UI Light" pitchFamily="34" charset="0"/>
              </a:rPr>
              <a:t>6.4 </a:t>
            </a:r>
          </a:p>
          <a:p>
            <a:pPr eaLnBrk="1" hangingPunct="1">
              <a:spcBef>
                <a:spcPct val="0"/>
              </a:spcBef>
              <a:buFontTx/>
              <a:buNone/>
            </a:pPr>
            <a:endParaRPr lang="en-GB" altLang="en-US" sz="2856" dirty="0">
              <a:solidFill>
                <a:srgbClr val="0033CC"/>
              </a:solidFill>
              <a:latin typeface="Segoe UI Light" pitchFamily="34" charset="0"/>
              <a:cs typeface="Segoe UI Light" pitchFamily="34" charset="0"/>
            </a:endParaRP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2.8                                                     0.9                                                   </a:t>
            </a:r>
          </a:p>
          <a:p>
            <a:pPr eaLnBrk="1" hangingPunct="1">
              <a:spcBef>
                <a:spcPct val="0"/>
              </a:spcBef>
              <a:buFontTx/>
              <a:buNone/>
            </a:pPr>
            <a:r>
              <a:rPr lang="en-GB" altLang="en-US" sz="2856" dirty="0">
                <a:solidFill>
                  <a:srgbClr val="0033CC"/>
                </a:solidFill>
                <a:latin typeface="Segoe UI Light" pitchFamily="34" charset="0"/>
                <a:cs typeface="Segoe UI Light" pitchFamily="34" charset="0"/>
              </a:rPr>
              <a:t>                                                  </a:t>
            </a:r>
            <a:r>
              <a:rPr lang="en-GB" altLang="en-US" sz="2856" dirty="0">
                <a:solidFill>
                  <a:srgbClr val="FF0000"/>
                </a:solidFill>
                <a:latin typeface="Segoe UI Light" pitchFamily="34" charset="0"/>
                <a:cs typeface="Segoe UI Light" pitchFamily="34" charset="0"/>
              </a:rPr>
              <a:t>1</a:t>
            </a:r>
            <a:r>
              <a:rPr lang="en-GB" altLang="en-US" sz="2856" dirty="0">
                <a:solidFill>
                  <a:srgbClr val="0033CC"/>
                </a:solidFill>
                <a:latin typeface="Segoe UI Light" pitchFamily="34" charset="0"/>
                <a:cs typeface="Segoe UI Light" pitchFamily="34" charset="0"/>
              </a:rPr>
              <a:t>  </a:t>
            </a:r>
          </a:p>
          <a:p>
            <a:pPr eaLnBrk="1" hangingPunct="1">
              <a:spcBef>
                <a:spcPct val="0"/>
              </a:spcBef>
              <a:buFontTx/>
              <a:buNone/>
            </a:pPr>
            <a:r>
              <a:rPr lang="en-GB" altLang="en-US" sz="2448" dirty="0">
                <a:solidFill>
                  <a:srgbClr val="0033CC"/>
                </a:solidFill>
                <a:latin typeface="Segoe UI Light" pitchFamily="34" charset="0"/>
                <a:cs typeface="Segoe UI Light" pitchFamily="34" charset="0"/>
              </a:rPr>
              <a:t>1.7                                          </a:t>
            </a:r>
            <a:r>
              <a:rPr lang="en-GB" altLang="en-US" sz="2448" i="1" dirty="0">
                <a:solidFill>
                  <a:srgbClr val="0033CC"/>
                </a:solidFill>
                <a:latin typeface="Segoe UI Light" pitchFamily="34" charset="0"/>
                <a:cs typeface="Segoe UI Light" pitchFamily="34" charset="0"/>
              </a:rPr>
              <a:t>error</a:t>
            </a:r>
            <a:r>
              <a:rPr lang="en-GB" altLang="en-US" sz="2448" dirty="0">
                <a:solidFill>
                  <a:srgbClr val="0033CC"/>
                </a:solidFill>
                <a:latin typeface="Segoe UI Light" pitchFamily="34" charset="0"/>
                <a:cs typeface="Segoe UI Light" pitchFamily="34" charset="0"/>
              </a:rPr>
              <a:t>  -0.1</a:t>
            </a:r>
            <a:endParaRPr lang="en-GB" altLang="en-US" sz="2448" dirty="0">
              <a:solidFill>
                <a:srgbClr val="FF0000"/>
              </a:solidFill>
              <a:latin typeface="Segoe UI Light" pitchFamily="34" charset="0"/>
              <a:cs typeface="Segoe UI Light" pitchFamily="34" charset="0"/>
            </a:endParaRPr>
          </a:p>
        </p:txBody>
      </p:sp>
      <p:pic>
        <p:nvPicPr>
          <p:cNvPr id="21511" name="Picture 4" descr="File:Hamme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76002">
            <a:off x="6864260" y="3236588"/>
            <a:ext cx="840314" cy="702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2" name="Picture 4" descr="File:Hamme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76002" flipH="1" flipV="1">
            <a:off x="8415360" y="2914387"/>
            <a:ext cx="718882" cy="599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89970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6312147" y="494797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 name="Oval 5"/>
          <p:cNvSpPr/>
          <p:nvPr/>
        </p:nvSpPr>
        <p:spPr>
          <a:xfrm>
            <a:off x="4446940" y="2797810"/>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Oval 6"/>
          <p:cNvSpPr/>
          <p:nvPr/>
        </p:nvSpPr>
        <p:spPr>
          <a:xfrm>
            <a:off x="4285030" y="3534502"/>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 name="Oval 7"/>
          <p:cNvSpPr/>
          <p:nvPr/>
        </p:nvSpPr>
        <p:spPr>
          <a:xfrm>
            <a:off x="4757808" y="3108677"/>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9" name="Oval 8"/>
          <p:cNvSpPr/>
          <p:nvPr/>
        </p:nvSpPr>
        <p:spPr>
          <a:xfrm>
            <a:off x="4607232" y="3989469"/>
            <a:ext cx="32058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Oval 9"/>
          <p:cNvSpPr/>
          <p:nvPr/>
        </p:nvSpPr>
        <p:spPr>
          <a:xfrm>
            <a:off x="5068676" y="3419545"/>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 name="Oval 10"/>
          <p:cNvSpPr/>
          <p:nvPr/>
        </p:nvSpPr>
        <p:spPr>
          <a:xfrm>
            <a:off x="4072926" y="419833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 name="Oval 11"/>
          <p:cNvSpPr/>
          <p:nvPr/>
        </p:nvSpPr>
        <p:spPr>
          <a:xfrm>
            <a:off x="3554813" y="3327257"/>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3" name="Oval 12"/>
          <p:cNvSpPr/>
          <p:nvPr/>
        </p:nvSpPr>
        <p:spPr>
          <a:xfrm>
            <a:off x="5342303" y="2456179"/>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 name="Oval 13"/>
          <p:cNvSpPr/>
          <p:nvPr/>
        </p:nvSpPr>
        <p:spPr>
          <a:xfrm>
            <a:off x="3477096" y="4582061"/>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 name="Oval 14"/>
          <p:cNvSpPr/>
          <p:nvPr/>
        </p:nvSpPr>
        <p:spPr>
          <a:xfrm>
            <a:off x="3389666" y="3970040"/>
            <a:ext cx="320582" cy="41611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 name="Oval 15"/>
          <p:cNvSpPr/>
          <p:nvPr/>
        </p:nvSpPr>
        <p:spPr>
          <a:xfrm>
            <a:off x="6223095" y="2310460"/>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 name="Oval 16"/>
          <p:cNvSpPr/>
          <p:nvPr/>
        </p:nvSpPr>
        <p:spPr>
          <a:xfrm>
            <a:off x="6726637" y="263266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 name="Oval 17"/>
          <p:cNvSpPr/>
          <p:nvPr/>
        </p:nvSpPr>
        <p:spPr>
          <a:xfrm>
            <a:off x="6564727" y="3367734"/>
            <a:ext cx="32220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 name="Oval 18"/>
          <p:cNvSpPr/>
          <p:nvPr/>
        </p:nvSpPr>
        <p:spPr>
          <a:xfrm>
            <a:off x="7037505" y="2943529"/>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 name="Oval 19"/>
          <p:cNvSpPr/>
          <p:nvPr/>
        </p:nvSpPr>
        <p:spPr>
          <a:xfrm>
            <a:off x="6886929" y="382432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 name="Oval 20"/>
          <p:cNvSpPr/>
          <p:nvPr/>
        </p:nvSpPr>
        <p:spPr>
          <a:xfrm>
            <a:off x="7348373" y="3254397"/>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 name="Oval 21"/>
          <p:cNvSpPr/>
          <p:nvPr/>
        </p:nvSpPr>
        <p:spPr>
          <a:xfrm>
            <a:off x="6352623" y="4031566"/>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3" name="Oval 22"/>
          <p:cNvSpPr/>
          <p:nvPr/>
        </p:nvSpPr>
        <p:spPr>
          <a:xfrm>
            <a:off x="5834510" y="3160489"/>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4" name="Oval 23"/>
          <p:cNvSpPr/>
          <p:nvPr/>
        </p:nvSpPr>
        <p:spPr>
          <a:xfrm>
            <a:off x="5721175" y="2642376"/>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5" name="Oval 24"/>
          <p:cNvSpPr/>
          <p:nvPr/>
        </p:nvSpPr>
        <p:spPr>
          <a:xfrm>
            <a:off x="5068676" y="4531871"/>
            <a:ext cx="320582" cy="41610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6" name="Oval 25"/>
          <p:cNvSpPr/>
          <p:nvPr/>
        </p:nvSpPr>
        <p:spPr>
          <a:xfrm>
            <a:off x="5502595" y="4117379"/>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7" name="Oval 26"/>
          <p:cNvSpPr/>
          <p:nvPr/>
        </p:nvSpPr>
        <p:spPr>
          <a:xfrm>
            <a:off x="5876609" y="4716447"/>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8" name="Oval 27"/>
          <p:cNvSpPr/>
          <p:nvPr/>
        </p:nvSpPr>
        <p:spPr>
          <a:xfrm>
            <a:off x="5716317" y="2227885"/>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9" name="Oval 28"/>
          <p:cNvSpPr/>
          <p:nvPr/>
        </p:nvSpPr>
        <p:spPr>
          <a:xfrm>
            <a:off x="6430340" y="293381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1" name="Freeform 30"/>
          <p:cNvSpPr/>
          <p:nvPr/>
        </p:nvSpPr>
        <p:spPr>
          <a:xfrm>
            <a:off x="2560685" y="2258649"/>
            <a:ext cx="6860139" cy="2221409"/>
          </a:xfrm>
          <a:custGeom>
            <a:avLst/>
            <a:gdLst>
              <a:gd name="connsiteX0" fmla="*/ 0 w 5733402"/>
              <a:gd name="connsiteY0" fmla="*/ 812800 h 1229760"/>
              <a:gd name="connsiteX1" fmla="*/ 30480 w 5733402"/>
              <a:gd name="connsiteY1" fmla="*/ 721360 h 1229760"/>
              <a:gd name="connsiteX2" fmla="*/ 264160 w 5733402"/>
              <a:gd name="connsiteY2" fmla="*/ 731520 h 1229760"/>
              <a:gd name="connsiteX3" fmla="*/ 284480 w 5733402"/>
              <a:gd name="connsiteY3" fmla="*/ 762000 h 1229760"/>
              <a:gd name="connsiteX4" fmla="*/ 314960 w 5733402"/>
              <a:gd name="connsiteY4" fmla="*/ 792480 h 1229760"/>
              <a:gd name="connsiteX5" fmla="*/ 335280 w 5733402"/>
              <a:gd name="connsiteY5" fmla="*/ 822960 h 1229760"/>
              <a:gd name="connsiteX6" fmla="*/ 365760 w 5733402"/>
              <a:gd name="connsiteY6" fmla="*/ 863600 h 1229760"/>
              <a:gd name="connsiteX7" fmla="*/ 396240 w 5733402"/>
              <a:gd name="connsiteY7" fmla="*/ 985520 h 1229760"/>
              <a:gd name="connsiteX8" fmla="*/ 406400 w 5733402"/>
              <a:gd name="connsiteY8" fmla="*/ 1016000 h 1229760"/>
              <a:gd name="connsiteX9" fmla="*/ 416560 w 5733402"/>
              <a:gd name="connsiteY9" fmla="*/ 1076960 h 1229760"/>
              <a:gd name="connsiteX10" fmla="*/ 447040 w 5733402"/>
              <a:gd name="connsiteY10" fmla="*/ 1158240 h 1229760"/>
              <a:gd name="connsiteX11" fmla="*/ 467360 w 5733402"/>
              <a:gd name="connsiteY11" fmla="*/ 1188720 h 1229760"/>
              <a:gd name="connsiteX12" fmla="*/ 477520 w 5733402"/>
              <a:gd name="connsiteY12" fmla="*/ 1219200 h 1229760"/>
              <a:gd name="connsiteX13" fmla="*/ 528320 w 5733402"/>
              <a:gd name="connsiteY13" fmla="*/ 1229360 h 1229760"/>
              <a:gd name="connsiteX14" fmla="*/ 1158240 w 5733402"/>
              <a:gd name="connsiteY14" fmla="*/ 1168400 h 1229760"/>
              <a:gd name="connsiteX15" fmla="*/ 1402080 w 5733402"/>
              <a:gd name="connsiteY15" fmla="*/ 1117600 h 1229760"/>
              <a:gd name="connsiteX16" fmla="*/ 1493520 w 5733402"/>
              <a:gd name="connsiteY16" fmla="*/ 1097280 h 1229760"/>
              <a:gd name="connsiteX17" fmla="*/ 1554480 w 5733402"/>
              <a:gd name="connsiteY17" fmla="*/ 1076960 h 1229760"/>
              <a:gd name="connsiteX18" fmla="*/ 1554480 w 5733402"/>
              <a:gd name="connsiteY18" fmla="*/ 904240 h 1229760"/>
              <a:gd name="connsiteX19" fmla="*/ 1595120 w 5733402"/>
              <a:gd name="connsiteY19" fmla="*/ 853440 h 1229760"/>
              <a:gd name="connsiteX20" fmla="*/ 1737360 w 5733402"/>
              <a:gd name="connsiteY20" fmla="*/ 833120 h 1229760"/>
              <a:gd name="connsiteX21" fmla="*/ 1981200 w 5733402"/>
              <a:gd name="connsiteY21" fmla="*/ 772160 h 1229760"/>
              <a:gd name="connsiteX22" fmla="*/ 2306320 w 5733402"/>
              <a:gd name="connsiteY22" fmla="*/ 741680 h 1229760"/>
              <a:gd name="connsiteX23" fmla="*/ 2763520 w 5733402"/>
              <a:gd name="connsiteY23" fmla="*/ 660400 h 1229760"/>
              <a:gd name="connsiteX24" fmla="*/ 2915920 w 5733402"/>
              <a:gd name="connsiteY24" fmla="*/ 650240 h 1229760"/>
              <a:gd name="connsiteX25" fmla="*/ 3027680 w 5733402"/>
              <a:gd name="connsiteY25" fmla="*/ 640080 h 1229760"/>
              <a:gd name="connsiteX26" fmla="*/ 3169920 w 5733402"/>
              <a:gd name="connsiteY26" fmla="*/ 629920 h 1229760"/>
              <a:gd name="connsiteX27" fmla="*/ 3098800 w 5733402"/>
              <a:gd name="connsiteY27" fmla="*/ 619760 h 1229760"/>
              <a:gd name="connsiteX28" fmla="*/ 3088640 w 5733402"/>
              <a:gd name="connsiteY28" fmla="*/ 538480 h 1229760"/>
              <a:gd name="connsiteX29" fmla="*/ 3048000 w 5733402"/>
              <a:gd name="connsiteY29" fmla="*/ 487680 h 1229760"/>
              <a:gd name="connsiteX30" fmla="*/ 3007360 w 5733402"/>
              <a:gd name="connsiteY30" fmla="*/ 457200 h 1229760"/>
              <a:gd name="connsiteX31" fmla="*/ 2946400 w 5733402"/>
              <a:gd name="connsiteY31" fmla="*/ 406400 h 1229760"/>
              <a:gd name="connsiteX32" fmla="*/ 2915920 w 5733402"/>
              <a:gd name="connsiteY32" fmla="*/ 396240 h 1229760"/>
              <a:gd name="connsiteX33" fmla="*/ 2885440 w 5733402"/>
              <a:gd name="connsiteY33" fmla="*/ 375920 h 1229760"/>
              <a:gd name="connsiteX34" fmla="*/ 2794000 w 5733402"/>
              <a:gd name="connsiteY34" fmla="*/ 355600 h 1229760"/>
              <a:gd name="connsiteX35" fmla="*/ 2834640 w 5733402"/>
              <a:gd name="connsiteY35" fmla="*/ 365760 h 1229760"/>
              <a:gd name="connsiteX36" fmla="*/ 3129280 w 5733402"/>
              <a:gd name="connsiteY36" fmla="*/ 355600 h 1229760"/>
              <a:gd name="connsiteX37" fmla="*/ 3149600 w 5733402"/>
              <a:gd name="connsiteY37" fmla="*/ 294640 h 1229760"/>
              <a:gd name="connsiteX38" fmla="*/ 3312160 w 5733402"/>
              <a:gd name="connsiteY38" fmla="*/ 243840 h 1229760"/>
              <a:gd name="connsiteX39" fmla="*/ 3515360 w 5733402"/>
              <a:gd name="connsiteY39" fmla="*/ 172720 h 1229760"/>
              <a:gd name="connsiteX40" fmla="*/ 4358640 w 5733402"/>
              <a:gd name="connsiteY40" fmla="*/ 20320 h 1229760"/>
              <a:gd name="connsiteX41" fmla="*/ 4612640 w 5733402"/>
              <a:gd name="connsiteY41" fmla="*/ 0 h 1229760"/>
              <a:gd name="connsiteX42" fmla="*/ 4693920 w 5733402"/>
              <a:gd name="connsiteY42" fmla="*/ 20320 h 1229760"/>
              <a:gd name="connsiteX43" fmla="*/ 4704080 w 5733402"/>
              <a:gd name="connsiteY43" fmla="*/ 60960 h 1229760"/>
              <a:gd name="connsiteX44" fmla="*/ 4724400 w 5733402"/>
              <a:gd name="connsiteY44" fmla="*/ 132080 h 1229760"/>
              <a:gd name="connsiteX45" fmla="*/ 4673600 w 5733402"/>
              <a:gd name="connsiteY45" fmla="*/ 375920 h 1229760"/>
              <a:gd name="connsiteX46" fmla="*/ 4632960 w 5733402"/>
              <a:gd name="connsiteY46" fmla="*/ 426720 h 1229760"/>
              <a:gd name="connsiteX47" fmla="*/ 4622800 w 5733402"/>
              <a:gd name="connsiteY47" fmla="*/ 457200 h 1229760"/>
              <a:gd name="connsiteX48" fmla="*/ 4592320 w 5733402"/>
              <a:gd name="connsiteY48" fmla="*/ 477520 h 1229760"/>
              <a:gd name="connsiteX49" fmla="*/ 4602480 w 5733402"/>
              <a:gd name="connsiteY49" fmla="*/ 528320 h 1229760"/>
              <a:gd name="connsiteX50" fmla="*/ 4622800 w 5733402"/>
              <a:gd name="connsiteY50" fmla="*/ 599440 h 1229760"/>
              <a:gd name="connsiteX51" fmla="*/ 4643120 w 5733402"/>
              <a:gd name="connsiteY51" fmla="*/ 1076960 h 1229760"/>
              <a:gd name="connsiteX52" fmla="*/ 4663440 w 5733402"/>
              <a:gd name="connsiteY52" fmla="*/ 1137920 h 1229760"/>
              <a:gd name="connsiteX53" fmla="*/ 4724400 w 5733402"/>
              <a:gd name="connsiteY53" fmla="*/ 1148080 h 1229760"/>
              <a:gd name="connsiteX54" fmla="*/ 4836160 w 5733402"/>
              <a:gd name="connsiteY54" fmla="*/ 1188720 h 1229760"/>
              <a:gd name="connsiteX55" fmla="*/ 5577840 w 5733402"/>
              <a:gd name="connsiteY55" fmla="*/ 1209040 h 1229760"/>
              <a:gd name="connsiteX56" fmla="*/ 5730240 w 5733402"/>
              <a:gd name="connsiteY56" fmla="*/ 1229360 h 1229760"/>
              <a:gd name="connsiteX57" fmla="*/ 5689600 w 5733402"/>
              <a:gd name="connsiteY57" fmla="*/ 1209040 h 1229760"/>
              <a:gd name="connsiteX58" fmla="*/ 5608320 w 5733402"/>
              <a:gd name="connsiteY58" fmla="*/ 1178560 h 12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733402" h="1229760">
                <a:moveTo>
                  <a:pt x="0" y="812800"/>
                </a:moveTo>
                <a:cubicBezTo>
                  <a:pt x="10160" y="782320"/>
                  <a:pt x="-228" y="730809"/>
                  <a:pt x="30480" y="721360"/>
                </a:cubicBezTo>
                <a:cubicBezTo>
                  <a:pt x="104999" y="698431"/>
                  <a:pt x="187172" y="719202"/>
                  <a:pt x="264160" y="731520"/>
                </a:cubicBezTo>
                <a:cubicBezTo>
                  <a:pt x="276217" y="733449"/>
                  <a:pt x="276663" y="752619"/>
                  <a:pt x="284480" y="762000"/>
                </a:cubicBezTo>
                <a:cubicBezTo>
                  <a:pt x="293678" y="773038"/>
                  <a:pt x="305762" y="781442"/>
                  <a:pt x="314960" y="792480"/>
                </a:cubicBezTo>
                <a:cubicBezTo>
                  <a:pt x="322777" y="801861"/>
                  <a:pt x="328183" y="813024"/>
                  <a:pt x="335280" y="822960"/>
                </a:cubicBezTo>
                <a:cubicBezTo>
                  <a:pt x="345122" y="836739"/>
                  <a:pt x="355600" y="850053"/>
                  <a:pt x="365760" y="863600"/>
                </a:cubicBezTo>
                <a:cubicBezTo>
                  <a:pt x="379000" y="929799"/>
                  <a:pt x="373682" y="910328"/>
                  <a:pt x="396240" y="985520"/>
                </a:cubicBezTo>
                <a:cubicBezTo>
                  <a:pt x="399317" y="995778"/>
                  <a:pt x="404077" y="1005545"/>
                  <a:pt x="406400" y="1016000"/>
                </a:cubicBezTo>
                <a:cubicBezTo>
                  <a:pt x="410869" y="1036110"/>
                  <a:pt x="412091" y="1056850"/>
                  <a:pt x="416560" y="1076960"/>
                </a:cubicBezTo>
                <a:cubicBezTo>
                  <a:pt x="420077" y="1092788"/>
                  <a:pt x="443876" y="1151912"/>
                  <a:pt x="447040" y="1158240"/>
                </a:cubicBezTo>
                <a:cubicBezTo>
                  <a:pt x="452501" y="1169162"/>
                  <a:pt x="461899" y="1177798"/>
                  <a:pt x="467360" y="1188720"/>
                </a:cubicBezTo>
                <a:cubicBezTo>
                  <a:pt x="472149" y="1198299"/>
                  <a:pt x="468609" y="1213259"/>
                  <a:pt x="477520" y="1219200"/>
                </a:cubicBezTo>
                <a:cubicBezTo>
                  <a:pt x="491888" y="1228779"/>
                  <a:pt x="511387" y="1225973"/>
                  <a:pt x="528320" y="1229360"/>
                </a:cubicBezTo>
                <a:cubicBezTo>
                  <a:pt x="950272" y="1204539"/>
                  <a:pt x="775446" y="1224419"/>
                  <a:pt x="1158240" y="1168400"/>
                </a:cubicBezTo>
                <a:cubicBezTo>
                  <a:pt x="1355296" y="1139563"/>
                  <a:pt x="1224103" y="1162094"/>
                  <a:pt x="1402080" y="1117600"/>
                </a:cubicBezTo>
                <a:cubicBezTo>
                  <a:pt x="1432371" y="1110027"/>
                  <a:pt x="1463351" y="1105325"/>
                  <a:pt x="1493520" y="1097280"/>
                </a:cubicBezTo>
                <a:cubicBezTo>
                  <a:pt x="1514216" y="1091761"/>
                  <a:pt x="1554480" y="1076960"/>
                  <a:pt x="1554480" y="1076960"/>
                </a:cubicBezTo>
                <a:cubicBezTo>
                  <a:pt x="1541349" y="1011303"/>
                  <a:pt x="1531016" y="984018"/>
                  <a:pt x="1554480" y="904240"/>
                </a:cubicBezTo>
                <a:cubicBezTo>
                  <a:pt x="1560599" y="883436"/>
                  <a:pt x="1574909" y="861300"/>
                  <a:pt x="1595120" y="853440"/>
                </a:cubicBezTo>
                <a:cubicBezTo>
                  <a:pt x="1639758" y="836081"/>
                  <a:pt x="1690493" y="842987"/>
                  <a:pt x="1737360" y="833120"/>
                </a:cubicBezTo>
                <a:cubicBezTo>
                  <a:pt x="1819344" y="815860"/>
                  <a:pt x="1898480" y="785454"/>
                  <a:pt x="1981200" y="772160"/>
                </a:cubicBezTo>
                <a:cubicBezTo>
                  <a:pt x="2088669" y="754888"/>
                  <a:pt x="2198565" y="757074"/>
                  <a:pt x="2306320" y="741680"/>
                </a:cubicBezTo>
                <a:cubicBezTo>
                  <a:pt x="2459554" y="719789"/>
                  <a:pt x="2609073" y="670696"/>
                  <a:pt x="2763520" y="660400"/>
                </a:cubicBezTo>
                <a:lnTo>
                  <a:pt x="2915920" y="650240"/>
                </a:lnTo>
                <a:cubicBezTo>
                  <a:pt x="2953217" y="647371"/>
                  <a:pt x="2990392" y="643063"/>
                  <a:pt x="3027680" y="640080"/>
                </a:cubicBezTo>
                <a:lnTo>
                  <a:pt x="3169920" y="629920"/>
                </a:lnTo>
                <a:lnTo>
                  <a:pt x="3098800" y="619760"/>
                </a:lnTo>
                <a:cubicBezTo>
                  <a:pt x="3080660" y="599353"/>
                  <a:pt x="3098442" y="563964"/>
                  <a:pt x="3088640" y="538480"/>
                </a:cubicBezTo>
                <a:cubicBezTo>
                  <a:pt x="3080855" y="518240"/>
                  <a:pt x="3063334" y="503014"/>
                  <a:pt x="3048000" y="487680"/>
                </a:cubicBezTo>
                <a:cubicBezTo>
                  <a:pt x="3036026" y="475706"/>
                  <a:pt x="3020217" y="468220"/>
                  <a:pt x="3007360" y="457200"/>
                </a:cubicBezTo>
                <a:cubicBezTo>
                  <a:pt x="2975902" y="430236"/>
                  <a:pt x="2982328" y="424364"/>
                  <a:pt x="2946400" y="406400"/>
                </a:cubicBezTo>
                <a:cubicBezTo>
                  <a:pt x="2936821" y="401611"/>
                  <a:pt x="2925499" y="401029"/>
                  <a:pt x="2915920" y="396240"/>
                </a:cubicBezTo>
                <a:cubicBezTo>
                  <a:pt x="2904998" y="390779"/>
                  <a:pt x="2896362" y="381381"/>
                  <a:pt x="2885440" y="375920"/>
                </a:cubicBezTo>
                <a:cubicBezTo>
                  <a:pt x="2864486" y="365443"/>
                  <a:pt x="2809609" y="355600"/>
                  <a:pt x="2794000" y="355600"/>
                </a:cubicBezTo>
                <a:cubicBezTo>
                  <a:pt x="2780036" y="355600"/>
                  <a:pt x="2821093" y="362373"/>
                  <a:pt x="2834640" y="365760"/>
                </a:cubicBezTo>
                <a:cubicBezTo>
                  <a:pt x="2932853" y="362373"/>
                  <a:pt x="3033422" y="377245"/>
                  <a:pt x="3129280" y="355600"/>
                </a:cubicBezTo>
                <a:cubicBezTo>
                  <a:pt x="3150173" y="350882"/>
                  <a:pt x="3131323" y="305809"/>
                  <a:pt x="3149600" y="294640"/>
                </a:cubicBezTo>
                <a:cubicBezTo>
                  <a:pt x="3198042" y="265037"/>
                  <a:pt x="3258576" y="262594"/>
                  <a:pt x="3312160" y="243840"/>
                </a:cubicBezTo>
                <a:cubicBezTo>
                  <a:pt x="3379893" y="220133"/>
                  <a:pt x="3445815" y="190422"/>
                  <a:pt x="3515360" y="172720"/>
                </a:cubicBezTo>
                <a:cubicBezTo>
                  <a:pt x="3645463" y="139603"/>
                  <a:pt x="4279474" y="25598"/>
                  <a:pt x="4358640" y="20320"/>
                </a:cubicBezTo>
                <a:cubicBezTo>
                  <a:pt x="4545000" y="7896"/>
                  <a:pt x="4460380" y="15226"/>
                  <a:pt x="4612640" y="0"/>
                </a:cubicBezTo>
                <a:cubicBezTo>
                  <a:pt x="4639733" y="6773"/>
                  <a:pt x="4670683" y="4829"/>
                  <a:pt x="4693920" y="20320"/>
                </a:cubicBezTo>
                <a:cubicBezTo>
                  <a:pt x="4705538" y="28066"/>
                  <a:pt x="4700244" y="47534"/>
                  <a:pt x="4704080" y="60960"/>
                </a:cubicBezTo>
                <a:cubicBezTo>
                  <a:pt x="4733231" y="162990"/>
                  <a:pt x="4692638" y="5033"/>
                  <a:pt x="4724400" y="132080"/>
                </a:cubicBezTo>
                <a:cubicBezTo>
                  <a:pt x="4710591" y="256360"/>
                  <a:pt x="4728169" y="290169"/>
                  <a:pt x="4673600" y="375920"/>
                </a:cubicBezTo>
                <a:cubicBezTo>
                  <a:pt x="4661958" y="394215"/>
                  <a:pt x="4646507" y="409787"/>
                  <a:pt x="4632960" y="426720"/>
                </a:cubicBezTo>
                <a:cubicBezTo>
                  <a:pt x="4629573" y="436880"/>
                  <a:pt x="4629490" y="448837"/>
                  <a:pt x="4622800" y="457200"/>
                </a:cubicBezTo>
                <a:cubicBezTo>
                  <a:pt x="4615172" y="466735"/>
                  <a:pt x="4595675" y="465779"/>
                  <a:pt x="4592320" y="477520"/>
                </a:cubicBezTo>
                <a:cubicBezTo>
                  <a:pt x="4587576" y="494124"/>
                  <a:pt x="4598734" y="511463"/>
                  <a:pt x="4602480" y="528320"/>
                </a:cubicBezTo>
                <a:cubicBezTo>
                  <a:pt x="4610985" y="566592"/>
                  <a:pt x="4611486" y="565498"/>
                  <a:pt x="4622800" y="599440"/>
                </a:cubicBezTo>
                <a:cubicBezTo>
                  <a:pt x="4629573" y="758613"/>
                  <a:pt x="4631130" y="918094"/>
                  <a:pt x="4643120" y="1076960"/>
                </a:cubicBezTo>
                <a:cubicBezTo>
                  <a:pt x="4644732" y="1098318"/>
                  <a:pt x="4647320" y="1123815"/>
                  <a:pt x="4663440" y="1137920"/>
                </a:cubicBezTo>
                <a:cubicBezTo>
                  <a:pt x="4678943" y="1151485"/>
                  <a:pt x="4704080" y="1144693"/>
                  <a:pt x="4724400" y="1148080"/>
                </a:cubicBezTo>
                <a:cubicBezTo>
                  <a:pt x="4747489" y="1157316"/>
                  <a:pt x="4813799" y="1184993"/>
                  <a:pt x="4836160" y="1188720"/>
                </a:cubicBezTo>
                <a:cubicBezTo>
                  <a:pt x="5120964" y="1236187"/>
                  <a:pt x="4876522" y="1198573"/>
                  <a:pt x="5577840" y="1209040"/>
                </a:cubicBezTo>
                <a:cubicBezTo>
                  <a:pt x="5605265" y="1213611"/>
                  <a:pt x="5713283" y="1232751"/>
                  <a:pt x="5730240" y="1229360"/>
                </a:cubicBezTo>
                <a:cubicBezTo>
                  <a:pt x="5745092" y="1226390"/>
                  <a:pt x="5703581" y="1214865"/>
                  <a:pt x="5689600" y="1209040"/>
                </a:cubicBezTo>
                <a:cubicBezTo>
                  <a:pt x="5662890" y="1197911"/>
                  <a:pt x="5608320" y="1178560"/>
                  <a:pt x="5608320" y="117856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33" name="Straight Arrow Connector 32"/>
          <p:cNvCxnSpPr/>
          <p:nvPr/>
        </p:nvCxnSpPr>
        <p:spPr>
          <a:xfrm flipH="1" flipV="1">
            <a:off x="8985286" y="4031568"/>
            <a:ext cx="21048" cy="354584"/>
          </a:xfrm>
          <a:prstGeom prst="straightConnector1">
            <a:avLst/>
          </a:prstGeom>
          <a:ln w="63500">
            <a:solidFill>
              <a:srgbClr val="0033C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rot="10800000" flipH="1" flipV="1">
            <a:off x="9016047" y="4468726"/>
            <a:ext cx="21049" cy="352964"/>
          </a:xfrm>
          <a:prstGeom prst="straightConnector1">
            <a:avLst/>
          </a:prstGeom>
          <a:ln w="63500">
            <a:solidFill>
              <a:srgbClr val="FFCC00"/>
            </a:solidFill>
            <a:tailEnd type="triangle"/>
          </a:ln>
        </p:spPr>
        <p:style>
          <a:lnRef idx="1">
            <a:schemeClr val="accent1"/>
          </a:lnRef>
          <a:fillRef idx="0">
            <a:schemeClr val="accent1"/>
          </a:fillRef>
          <a:effectRef idx="0">
            <a:schemeClr val="accent1"/>
          </a:effectRef>
          <a:fontRef idx="minor">
            <a:schemeClr val="tx1"/>
          </a:fontRef>
        </p:style>
      </p:cxnSp>
      <p:sp>
        <p:nvSpPr>
          <p:cNvPr id="23583" name="TextBox 34"/>
          <p:cNvSpPr txBox="1">
            <a:spLocks noChangeArrowheads="1"/>
          </p:cNvSpPr>
          <p:nvPr/>
        </p:nvSpPr>
        <p:spPr bwMode="auto">
          <a:xfrm>
            <a:off x="1943806" y="1368143"/>
            <a:ext cx="3297950"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Initial random weights</a:t>
            </a:r>
          </a:p>
        </p:txBody>
      </p:sp>
      <p:sp>
        <p:nvSpPr>
          <p:cNvPr id="3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Decision Boundary Perspective…</a:t>
            </a:r>
          </a:p>
        </p:txBody>
      </p:sp>
      <p:pic>
        <p:nvPicPr>
          <p:cNvPr id="3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48484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6312147" y="494797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 name="Oval 5"/>
          <p:cNvSpPr/>
          <p:nvPr/>
        </p:nvSpPr>
        <p:spPr>
          <a:xfrm>
            <a:off x="4446940" y="2797810"/>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Oval 6"/>
          <p:cNvSpPr/>
          <p:nvPr/>
        </p:nvSpPr>
        <p:spPr>
          <a:xfrm>
            <a:off x="4285030" y="3534502"/>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 name="Oval 7"/>
          <p:cNvSpPr/>
          <p:nvPr/>
        </p:nvSpPr>
        <p:spPr>
          <a:xfrm>
            <a:off x="4757808" y="3108677"/>
            <a:ext cx="320582" cy="414490"/>
          </a:xfrm>
          <a:prstGeom prst="ellipse">
            <a:avLst/>
          </a:prstGeom>
          <a:solidFill>
            <a:srgbClr val="FFC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9" name="Oval 8"/>
          <p:cNvSpPr/>
          <p:nvPr/>
        </p:nvSpPr>
        <p:spPr>
          <a:xfrm>
            <a:off x="4607232" y="3989469"/>
            <a:ext cx="32058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Oval 9"/>
          <p:cNvSpPr/>
          <p:nvPr/>
        </p:nvSpPr>
        <p:spPr>
          <a:xfrm>
            <a:off x="5068676" y="3419545"/>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 name="Oval 10"/>
          <p:cNvSpPr/>
          <p:nvPr/>
        </p:nvSpPr>
        <p:spPr>
          <a:xfrm>
            <a:off x="4072926" y="419833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 name="Oval 11"/>
          <p:cNvSpPr/>
          <p:nvPr/>
        </p:nvSpPr>
        <p:spPr>
          <a:xfrm>
            <a:off x="3554813" y="3327257"/>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3" name="Oval 12"/>
          <p:cNvSpPr/>
          <p:nvPr/>
        </p:nvSpPr>
        <p:spPr>
          <a:xfrm>
            <a:off x="5342303" y="2456179"/>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 name="Oval 13"/>
          <p:cNvSpPr/>
          <p:nvPr/>
        </p:nvSpPr>
        <p:spPr>
          <a:xfrm>
            <a:off x="3477096" y="4582061"/>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 name="Oval 14"/>
          <p:cNvSpPr/>
          <p:nvPr/>
        </p:nvSpPr>
        <p:spPr>
          <a:xfrm>
            <a:off x="3389666" y="3970040"/>
            <a:ext cx="320582" cy="41611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 name="Oval 15"/>
          <p:cNvSpPr/>
          <p:nvPr/>
        </p:nvSpPr>
        <p:spPr>
          <a:xfrm>
            <a:off x="6223095" y="2310460"/>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 name="Oval 16"/>
          <p:cNvSpPr/>
          <p:nvPr/>
        </p:nvSpPr>
        <p:spPr>
          <a:xfrm>
            <a:off x="6726637" y="263266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 name="Oval 17"/>
          <p:cNvSpPr/>
          <p:nvPr/>
        </p:nvSpPr>
        <p:spPr>
          <a:xfrm>
            <a:off x="6564727" y="3367734"/>
            <a:ext cx="32220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 name="Oval 18"/>
          <p:cNvSpPr/>
          <p:nvPr/>
        </p:nvSpPr>
        <p:spPr>
          <a:xfrm>
            <a:off x="7037505" y="2943529"/>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 name="Oval 19"/>
          <p:cNvSpPr/>
          <p:nvPr/>
        </p:nvSpPr>
        <p:spPr>
          <a:xfrm>
            <a:off x="6886929" y="382432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 name="Oval 20"/>
          <p:cNvSpPr/>
          <p:nvPr/>
        </p:nvSpPr>
        <p:spPr>
          <a:xfrm>
            <a:off x="7348373" y="3254397"/>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 name="Oval 21"/>
          <p:cNvSpPr/>
          <p:nvPr/>
        </p:nvSpPr>
        <p:spPr>
          <a:xfrm>
            <a:off x="6352623" y="4031566"/>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3" name="Oval 22"/>
          <p:cNvSpPr/>
          <p:nvPr/>
        </p:nvSpPr>
        <p:spPr>
          <a:xfrm>
            <a:off x="5834510" y="3160489"/>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4" name="Oval 23"/>
          <p:cNvSpPr/>
          <p:nvPr/>
        </p:nvSpPr>
        <p:spPr>
          <a:xfrm>
            <a:off x="5721175" y="2642376"/>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5" name="Oval 24"/>
          <p:cNvSpPr/>
          <p:nvPr/>
        </p:nvSpPr>
        <p:spPr>
          <a:xfrm>
            <a:off x="5068676" y="4531871"/>
            <a:ext cx="320582" cy="41610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6" name="Oval 25"/>
          <p:cNvSpPr/>
          <p:nvPr/>
        </p:nvSpPr>
        <p:spPr>
          <a:xfrm>
            <a:off x="5502595" y="4117379"/>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7" name="Oval 26"/>
          <p:cNvSpPr/>
          <p:nvPr/>
        </p:nvSpPr>
        <p:spPr>
          <a:xfrm>
            <a:off x="5876609" y="4716447"/>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8" name="Oval 27"/>
          <p:cNvSpPr/>
          <p:nvPr/>
        </p:nvSpPr>
        <p:spPr>
          <a:xfrm>
            <a:off x="5716317" y="2227885"/>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9" name="Oval 28"/>
          <p:cNvSpPr/>
          <p:nvPr/>
        </p:nvSpPr>
        <p:spPr>
          <a:xfrm>
            <a:off x="6430340" y="293381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33" name="Straight Arrow Connector 32"/>
          <p:cNvCxnSpPr/>
          <p:nvPr/>
        </p:nvCxnSpPr>
        <p:spPr>
          <a:xfrm flipV="1">
            <a:off x="9192530" y="4405581"/>
            <a:ext cx="103623" cy="331916"/>
          </a:xfrm>
          <a:prstGeom prst="straightConnector1">
            <a:avLst/>
          </a:prstGeom>
          <a:ln w="63500">
            <a:solidFill>
              <a:srgbClr val="0033C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 idx="112"/>
          </p:cNvCxnSpPr>
          <p:nvPr/>
        </p:nvCxnSpPr>
        <p:spPr>
          <a:xfrm flipH="1">
            <a:off x="9067860" y="4735876"/>
            <a:ext cx="113337" cy="354583"/>
          </a:xfrm>
          <a:prstGeom prst="straightConnector1">
            <a:avLst/>
          </a:prstGeom>
          <a:ln w="63500">
            <a:solidFill>
              <a:srgbClr val="FFCC00"/>
            </a:solidFill>
            <a:tailEnd type="triangle"/>
          </a:ln>
        </p:spPr>
        <p:style>
          <a:lnRef idx="1">
            <a:schemeClr val="accent1"/>
          </a:lnRef>
          <a:fillRef idx="0">
            <a:schemeClr val="accent1"/>
          </a:fillRef>
          <a:effectRef idx="0">
            <a:schemeClr val="accent1"/>
          </a:effectRef>
          <a:fontRef idx="minor">
            <a:schemeClr val="tx1"/>
          </a:fontRef>
        </p:style>
      </p:cxnSp>
      <p:sp>
        <p:nvSpPr>
          <p:cNvPr id="24606" name="TextBox 34"/>
          <p:cNvSpPr txBox="1">
            <a:spLocks noChangeArrowheads="1"/>
          </p:cNvSpPr>
          <p:nvPr/>
        </p:nvSpPr>
        <p:spPr bwMode="auto">
          <a:xfrm>
            <a:off x="1943807" y="1368143"/>
            <a:ext cx="6555484"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Present a training instance / adjust the weights</a:t>
            </a:r>
          </a:p>
        </p:txBody>
      </p:sp>
      <p:sp>
        <p:nvSpPr>
          <p:cNvPr id="3" name="Freeform 2"/>
          <p:cNvSpPr/>
          <p:nvPr/>
        </p:nvSpPr>
        <p:spPr>
          <a:xfrm>
            <a:off x="2560685" y="2373606"/>
            <a:ext cx="6860139" cy="2548468"/>
          </a:xfrm>
          <a:custGeom>
            <a:avLst/>
            <a:gdLst>
              <a:gd name="connsiteX0" fmla="*/ 0 w 6725920"/>
              <a:gd name="connsiteY0" fmla="*/ 1290320 h 2499360"/>
              <a:gd name="connsiteX1" fmla="*/ 91440 w 6725920"/>
              <a:gd name="connsiteY1" fmla="*/ 1280160 h 2499360"/>
              <a:gd name="connsiteX2" fmla="*/ 121920 w 6725920"/>
              <a:gd name="connsiteY2" fmla="*/ 1249680 h 2499360"/>
              <a:gd name="connsiteX3" fmla="*/ 213360 w 6725920"/>
              <a:gd name="connsiteY3" fmla="*/ 1198880 h 2499360"/>
              <a:gd name="connsiteX4" fmla="*/ 345440 w 6725920"/>
              <a:gd name="connsiteY4" fmla="*/ 1209040 h 2499360"/>
              <a:gd name="connsiteX5" fmla="*/ 447040 w 6725920"/>
              <a:gd name="connsiteY5" fmla="*/ 1229360 h 2499360"/>
              <a:gd name="connsiteX6" fmla="*/ 477520 w 6725920"/>
              <a:gd name="connsiteY6" fmla="*/ 1249680 h 2499360"/>
              <a:gd name="connsiteX7" fmla="*/ 508000 w 6725920"/>
              <a:gd name="connsiteY7" fmla="*/ 1351280 h 2499360"/>
              <a:gd name="connsiteX8" fmla="*/ 518160 w 6725920"/>
              <a:gd name="connsiteY8" fmla="*/ 1391920 h 2499360"/>
              <a:gd name="connsiteX9" fmla="*/ 558800 w 6725920"/>
              <a:gd name="connsiteY9" fmla="*/ 1452880 h 2499360"/>
              <a:gd name="connsiteX10" fmla="*/ 680720 w 6725920"/>
              <a:gd name="connsiteY10" fmla="*/ 1463040 h 2499360"/>
              <a:gd name="connsiteX11" fmla="*/ 711200 w 6725920"/>
              <a:gd name="connsiteY11" fmla="*/ 1483360 h 2499360"/>
              <a:gd name="connsiteX12" fmla="*/ 772160 w 6725920"/>
              <a:gd name="connsiteY12" fmla="*/ 1513840 h 2499360"/>
              <a:gd name="connsiteX13" fmla="*/ 833120 w 6725920"/>
              <a:gd name="connsiteY13" fmla="*/ 1584960 h 2499360"/>
              <a:gd name="connsiteX14" fmla="*/ 843280 w 6725920"/>
              <a:gd name="connsiteY14" fmla="*/ 1615440 h 2499360"/>
              <a:gd name="connsiteX15" fmla="*/ 863600 w 6725920"/>
              <a:gd name="connsiteY15" fmla="*/ 1645920 h 2499360"/>
              <a:gd name="connsiteX16" fmla="*/ 843280 w 6725920"/>
              <a:gd name="connsiteY16" fmla="*/ 1737360 h 2499360"/>
              <a:gd name="connsiteX17" fmla="*/ 853440 w 6725920"/>
              <a:gd name="connsiteY17" fmla="*/ 1818640 h 2499360"/>
              <a:gd name="connsiteX18" fmla="*/ 1615440 w 6725920"/>
              <a:gd name="connsiteY18" fmla="*/ 1818640 h 2499360"/>
              <a:gd name="connsiteX19" fmla="*/ 1625600 w 6725920"/>
              <a:gd name="connsiteY19" fmla="*/ 1788160 h 2499360"/>
              <a:gd name="connsiteX20" fmla="*/ 1666240 w 6725920"/>
              <a:gd name="connsiteY20" fmla="*/ 1778000 h 2499360"/>
              <a:gd name="connsiteX21" fmla="*/ 1727200 w 6725920"/>
              <a:gd name="connsiteY21" fmla="*/ 1747520 h 2499360"/>
              <a:gd name="connsiteX22" fmla="*/ 1747520 w 6725920"/>
              <a:gd name="connsiteY22" fmla="*/ 1686560 h 2499360"/>
              <a:gd name="connsiteX23" fmla="*/ 1778000 w 6725920"/>
              <a:gd name="connsiteY23" fmla="*/ 1625600 h 2499360"/>
              <a:gd name="connsiteX24" fmla="*/ 1808480 w 6725920"/>
              <a:gd name="connsiteY24" fmla="*/ 1595120 h 2499360"/>
              <a:gd name="connsiteX25" fmla="*/ 1828800 w 6725920"/>
              <a:gd name="connsiteY25" fmla="*/ 1554480 h 2499360"/>
              <a:gd name="connsiteX26" fmla="*/ 1940560 w 6725920"/>
              <a:gd name="connsiteY26" fmla="*/ 1493520 h 2499360"/>
              <a:gd name="connsiteX27" fmla="*/ 1981200 w 6725920"/>
              <a:gd name="connsiteY27" fmla="*/ 1463040 h 2499360"/>
              <a:gd name="connsiteX28" fmla="*/ 2062480 w 6725920"/>
              <a:gd name="connsiteY28" fmla="*/ 1412240 h 2499360"/>
              <a:gd name="connsiteX29" fmla="*/ 2113280 w 6725920"/>
              <a:gd name="connsiteY29" fmla="*/ 1381760 h 2499360"/>
              <a:gd name="connsiteX30" fmla="*/ 2174240 w 6725920"/>
              <a:gd name="connsiteY30" fmla="*/ 1330960 h 2499360"/>
              <a:gd name="connsiteX31" fmla="*/ 2184400 w 6725920"/>
              <a:gd name="connsiteY31" fmla="*/ 1300480 h 2499360"/>
              <a:gd name="connsiteX32" fmla="*/ 2214880 w 6725920"/>
              <a:gd name="connsiteY32" fmla="*/ 1290320 h 2499360"/>
              <a:gd name="connsiteX33" fmla="*/ 2184400 w 6725920"/>
              <a:gd name="connsiteY33" fmla="*/ 1320800 h 2499360"/>
              <a:gd name="connsiteX34" fmla="*/ 2113280 w 6725920"/>
              <a:gd name="connsiteY34" fmla="*/ 1300480 h 2499360"/>
              <a:gd name="connsiteX35" fmla="*/ 2092960 w 6725920"/>
              <a:gd name="connsiteY35" fmla="*/ 1270000 h 2499360"/>
              <a:gd name="connsiteX36" fmla="*/ 2103120 w 6725920"/>
              <a:gd name="connsiteY36" fmla="*/ 1016000 h 2499360"/>
              <a:gd name="connsiteX37" fmla="*/ 2133600 w 6725920"/>
              <a:gd name="connsiteY37" fmla="*/ 985520 h 2499360"/>
              <a:gd name="connsiteX38" fmla="*/ 2204720 w 6725920"/>
              <a:gd name="connsiteY38" fmla="*/ 965200 h 2499360"/>
              <a:gd name="connsiteX39" fmla="*/ 2397760 w 6725920"/>
              <a:gd name="connsiteY39" fmla="*/ 955040 h 2499360"/>
              <a:gd name="connsiteX40" fmla="*/ 2570480 w 6725920"/>
              <a:gd name="connsiteY40" fmla="*/ 934720 h 2499360"/>
              <a:gd name="connsiteX41" fmla="*/ 2631440 w 6725920"/>
              <a:gd name="connsiteY41" fmla="*/ 904240 h 2499360"/>
              <a:gd name="connsiteX42" fmla="*/ 2682240 w 6725920"/>
              <a:gd name="connsiteY42" fmla="*/ 894080 h 2499360"/>
              <a:gd name="connsiteX43" fmla="*/ 2722880 w 6725920"/>
              <a:gd name="connsiteY43" fmla="*/ 883920 h 2499360"/>
              <a:gd name="connsiteX44" fmla="*/ 2956560 w 6725920"/>
              <a:gd name="connsiteY44" fmla="*/ 873760 h 2499360"/>
              <a:gd name="connsiteX45" fmla="*/ 2987040 w 6725920"/>
              <a:gd name="connsiteY45" fmla="*/ 863600 h 2499360"/>
              <a:gd name="connsiteX46" fmla="*/ 3007360 w 6725920"/>
              <a:gd name="connsiteY46" fmla="*/ 802640 h 2499360"/>
              <a:gd name="connsiteX47" fmla="*/ 3027680 w 6725920"/>
              <a:gd name="connsiteY47" fmla="*/ 772160 h 2499360"/>
              <a:gd name="connsiteX48" fmla="*/ 3037840 w 6725920"/>
              <a:gd name="connsiteY48" fmla="*/ 711200 h 2499360"/>
              <a:gd name="connsiteX49" fmla="*/ 3088640 w 6725920"/>
              <a:gd name="connsiteY49" fmla="*/ 680720 h 2499360"/>
              <a:gd name="connsiteX50" fmla="*/ 3119120 w 6725920"/>
              <a:gd name="connsiteY50" fmla="*/ 670560 h 2499360"/>
              <a:gd name="connsiteX51" fmla="*/ 3159760 w 6725920"/>
              <a:gd name="connsiteY51" fmla="*/ 650240 h 2499360"/>
              <a:gd name="connsiteX52" fmla="*/ 3230880 w 6725920"/>
              <a:gd name="connsiteY52" fmla="*/ 640080 h 2499360"/>
              <a:gd name="connsiteX53" fmla="*/ 3261360 w 6725920"/>
              <a:gd name="connsiteY53" fmla="*/ 619760 h 2499360"/>
              <a:gd name="connsiteX54" fmla="*/ 3322320 w 6725920"/>
              <a:gd name="connsiteY54" fmla="*/ 558800 h 2499360"/>
              <a:gd name="connsiteX55" fmla="*/ 3342640 w 6725920"/>
              <a:gd name="connsiteY55" fmla="*/ 528320 h 2499360"/>
              <a:gd name="connsiteX56" fmla="*/ 3403600 w 6725920"/>
              <a:gd name="connsiteY56" fmla="*/ 487680 h 2499360"/>
              <a:gd name="connsiteX57" fmla="*/ 3393440 w 6725920"/>
              <a:gd name="connsiteY57" fmla="*/ 436880 h 2499360"/>
              <a:gd name="connsiteX58" fmla="*/ 3373120 w 6725920"/>
              <a:gd name="connsiteY58" fmla="*/ 406400 h 2499360"/>
              <a:gd name="connsiteX59" fmla="*/ 3362960 w 6725920"/>
              <a:gd name="connsiteY59" fmla="*/ 365760 h 2499360"/>
              <a:gd name="connsiteX60" fmla="*/ 3383280 w 6725920"/>
              <a:gd name="connsiteY60" fmla="*/ 335280 h 2499360"/>
              <a:gd name="connsiteX61" fmla="*/ 3434080 w 6725920"/>
              <a:gd name="connsiteY61" fmla="*/ 325120 h 2499360"/>
              <a:gd name="connsiteX62" fmla="*/ 3474720 w 6725920"/>
              <a:gd name="connsiteY62" fmla="*/ 314960 h 2499360"/>
              <a:gd name="connsiteX63" fmla="*/ 3576320 w 6725920"/>
              <a:gd name="connsiteY63" fmla="*/ 264160 h 2499360"/>
              <a:gd name="connsiteX64" fmla="*/ 3769360 w 6725920"/>
              <a:gd name="connsiteY64" fmla="*/ 111760 h 2499360"/>
              <a:gd name="connsiteX65" fmla="*/ 3820160 w 6725920"/>
              <a:gd name="connsiteY65" fmla="*/ 71120 h 2499360"/>
              <a:gd name="connsiteX66" fmla="*/ 3901440 w 6725920"/>
              <a:gd name="connsiteY66" fmla="*/ 40640 h 2499360"/>
              <a:gd name="connsiteX67" fmla="*/ 3992880 w 6725920"/>
              <a:gd name="connsiteY67" fmla="*/ 50800 h 2499360"/>
              <a:gd name="connsiteX68" fmla="*/ 4084320 w 6725920"/>
              <a:gd name="connsiteY68" fmla="*/ 30480 h 2499360"/>
              <a:gd name="connsiteX69" fmla="*/ 4145280 w 6725920"/>
              <a:gd name="connsiteY69" fmla="*/ 20320 h 2499360"/>
              <a:gd name="connsiteX70" fmla="*/ 4297680 w 6725920"/>
              <a:gd name="connsiteY70" fmla="*/ 0 h 2499360"/>
              <a:gd name="connsiteX71" fmla="*/ 4632960 w 6725920"/>
              <a:gd name="connsiteY71" fmla="*/ 10160 h 2499360"/>
              <a:gd name="connsiteX72" fmla="*/ 4714240 w 6725920"/>
              <a:gd name="connsiteY72" fmla="*/ 40640 h 2499360"/>
              <a:gd name="connsiteX73" fmla="*/ 4815840 w 6725920"/>
              <a:gd name="connsiteY73" fmla="*/ 91440 h 2499360"/>
              <a:gd name="connsiteX74" fmla="*/ 4978400 w 6725920"/>
              <a:gd name="connsiteY74" fmla="*/ 213360 h 2499360"/>
              <a:gd name="connsiteX75" fmla="*/ 5039360 w 6725920"/>
              <a:gd name="connsiteY75" fmla="*/ 254000 h 2499360"/>
              <a:gd name="connsiteX76" fmla="*/ 5069840 w 6725920"/>
              <a:gd name="connsiteY76" fmla="*/ 304800 h 2499360"/>
              <a:gd name="connsiteX77" fmla="*/ 5130800 w 6725920"/>
              <a:gd name="connsiteY77" fmla="*/ 406400 h 2499360"/>
              <a:gd name="connsiteX78" fmla="*/ 5191760 w 6725920"/>
              <a:gd name="connsiteY78" fmla="*/ 477520 h 2499360"/>
              <a:gd name="connsiteX79" fmla="*/ 5212080 w 6725920"/>
              <a:gd name="connsiteY79" fmla="*/ 528320 h 2499360"/>
              <a:gd name="connsiteX80" fmla="*/ 5232400 w 6725920"/>
              <a:gd name="connsiteY80" fmla="*/ 568960 h 2499360"/>
              <a:gd name="connsiteX81" fmla="*/ 5252720 w 6725920"/>
              <a:gd name="connsiteY81" fmla="*/ 599440 h 2499360"/>
              <a:gd name="connsiteX82" fmla="*/ 5262880 w 6725920"/>
              <a:gd name="connsiteY82" fmla="*/ 629920 h 2499360"/>
              <a:gd name="connsiteX83" fmla="*/ 5293360 w 6725920"/>
              <a:gd name="connsiteY83" fmla="*/ 650240 h 2499360"/>
              <a:gd name="connsiteX84" fmla="*/ 5313680 w 6725920"/>
              <a:gd name="connsiteY84" fmla="*/ 731520 h 2499360"/>
              <a:gd name="connsiteX85" fmla="*/ 5354320 w 6725920"/>
              <a:gd name="connsiteY85" fmla="*/ 782320 h 2499360"/>
              <a:gd name="connsiteX86" fmla="*/ 5445760 w 6725920"/>
              <a:gd name="connsiteY86" fmla="*/ 914400 h 2499360"/>
              <a:gd name="connsiteX87" fmla="*/ 5516880 w 6725920"/>
              <a:gd name="connsiteY87" fmla="*/ 1005840 h 2499360"/>
              <a:gd name="connsiteX88" fmla="*/ 5598160 w 6725920"/>
              <a:gd name="connsiteY88" fmla="*/ 1148080 h 2499360"/>
              <a:gd name="connsiteX89" fmla="*/ 5628640 w 6725920"/>
              <a:gd name="connsiteY89" fmla="*/ 1198880 h 2499360"/>
              <a:gd name="connsiteX90" fmla="*/ 5648960 w 6725920"/>
              <a:gd name="connsiteY90" fmla="*/ 1229360 h 2499360"/>
              <a:gd name="connsiteX91" fmla="*/ 5679440 w 6725920"/>
              <a:gd name="connsiteY91" fmla="*/ 1239520 h 2499360"/>
              <a:gd name="connsiteX92" fmla="*/ 5709920 w 6725920"/>
              <a:gd name="connsiteY92" fmla="*/ 1270000 h 2499360"/>
              <a:gd name="connsiteX93" fmla="*/ 5852160 w 6725920"/>
              <a:gd name="connsiteY93" fmla="*/ 1351280 h 2499360"/>
              <a:gd name="connsiteX94" fmla="*/ 5923280 w 6725920"/>
              <a:gd name="connsiteY94" fmla="*/ 1432560 h 2499360"/>
              <a:gd name="connsiteX95" fmla="*/ 5994400 w 6725920"/>
              <a:gd name="connsiteY95" fmla="*/ 1493520 h 2499360"/>
              <a:gd name="connsiteX96" fmla="*/ 6085840 w 6725920"/>
              <a:gd name="connsiteY96" fmla="*/ 1656080 h 2499360"/>
              <a:gd name="connsiteX97" fmla="*/ 6096000 w 6725920"/>
              <a:gd name="connsiteY97" fmla="*/ 1686560 h 2499360"/>
              <a:gd name="connsiteX98" fmla="*/ 6106160 w 6725920"/>
              <a:gd name="connsiteY98" fmla="*/ 1747520 h 2499360"/>
              <a:gd name="connsiteX99" fmla="*/ 6187440 w 6725920"/>
              <a:gd name="connsiteY99" fmla="*/ 1778000 h 2499360"/>
              <a:gd name="connsiteX100" fmla="*/ 6217920 w 6725920"/>
              <a:gd name="connsiteY100" fmla="*/ 1818640 h 2499360"/>
              <a:gd name="connsiteX101" fmla="*/ 6248400 w 6725920"/>
              <a:gd name="connsiteY101" fmla="*/ 1838960 h 2499360"/>
              <a:gd name="connsiteX102" fmla="*/ 6238240 w 6725920"/>
              <a:gd name="connsiteY102" fmla="*/ 1869440 h 2499360"/>
              <a:gd name="connsiteX103" fmla="*/ 6238240 w 6725920"/>
              <a:gd name="connsiteY103" fmla="*/ 1950720 h 2499360"/>
              <a:gd name="connsiteX104" fmla="*/ 6197600 w 6725920"/>
              <a:gd name="connsiteY104" fmla="*/ 1960880 h 2499360"/>
              <a:gd name="connsiteX105" fmla="*/ 6207760 w 6725920"/>
              <a:gd name="connsiteY105" fmla="*/ 2052320 h 2499360"/>
              <a:gd name="connsiteX106" fmla="*/ 6238240 w 6725920"/>
              <a:gd name="connsiteY106" fmla="*/ 2062480 h 2499360"/>
              <a:gd name="connsiteX107" fmla="*/ 6258560 w 6725920"/>
              <a:gd name="connsiteY107" fmla="*/ 2092960 h 2499360"/>
              <a:gd name="connsiteX108" fmla="*/ 6268720 w 6725920"/>
              <a:gd name="connsiteY108" fmla="*/ 2174240 h 2499360"/>
              <a:gd name="connsiteX109" fmla="*/ 6309360 w 6725920"/>
              <a:gd name="connsiteY109" fmla="*/ 2245360 h 2499360"/>
              <a:gd name="connsiteX110" fmla="*/ 6339840 w 6725920"/>
              <a:gd name="connsiteY110" fmla="*/ 2235200 h 2499360"/>
              <a:gd name="connsiteX111" fmla="*/ 6431280 w 6725920"/>
              <a:gd name="connsiteY111" fmla="*/ 2275840 h 2499360"/>
              <a:gd name="connsiteX112" fmla="*/ 6492240 w 6725920"/>
              <a:gd name="connsiteY112" fmla="*/ 2316480 h 2499360"/>
              <a:gd name="connsiteX113" fmla="*/ 6614160 w 6725920"/>
              <a:gd name="connsiteY113" fmla="*/ 2407920 h 2499360"/>
              <a:gd name="connsiteX114" fmla="*/ 6654800 w 6725920"/>
              <a:gd name="connsiteY114" fmla="*/ 2418080 h 2499360"/>
              <a:gd name="connsiteX115" fmla="*/ 6685280 w 6725920"/>
              <a:gd name="connsiteY115" fmla="*/ 2448560 h 2499360"/>
              <a:gd name="connsiteX116" fmla="*/ 6725920 w 6725920"/>
              <a:gd name="connsiteY116" fmla="*/ 249936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6725920" h="2499360">
                <a:moveTo>
                  <a:pt x="0" y="1290320"/>
                </a:moveTo>
                <a:cubicBezTo>
                  <a:pt x="30480" y="1286933"/>
                  <a:pt x="62346" y="1289858"/>
                  <a:pt x="91440" y="1280160"/>
                </a:cubicBezTo>
                <a:cubicBezTo>
                  <a:pt x="105071" y="1275616"/>
                  <a:pt x="110578" y="1258501"/>
                  <a:pt x="121920" y="1249680"/>
                </a:cubicBezTo>
                <a:cubicBezTo>
                  <a:pt x="174323" y="1208922"/>
                  <a:pt x="167372" y="1214209"/>
                  <a:pt x="213360" y="1198880"/>
                </a:cubicBezTo>
                <a:cubicBezTo>
                  <a:pt x="257387" y="1202267"/>
                  <a:pt x="301654" y="1203329"/>
                  <a:pt x="345440" y="1209040"/>
                </a:cubicBezTo>
                <a:cubicBezTo>
                  <a:pt x="379687" y="1213507"/>
                  <a:pt x="447040" y="1229360"/>
                  <a:pt x="447040" y="1229360"/>
                </a:cubicBezTo>
                <a:cubicBezTo>
                  <a:pt x="457200" y="1236133"/>
                  <a:pt x="469703" y="1240299"/>
                  <a:pt x="477520" y="1249680"/>
                </a:cubicBezTo>
                <a:cubicBezTo>
                  <a:pt x="503283" y="1280595"/>
                  <a:pt x="500478" y="1313669"/>
                  <a:pt x="508000" y="1351280"/>
                </a:cubicBezTo>
                <a:cubicBezTo>
                  <a:pt x="510738" y="1364972"/>
                  <a:pt x="514324" y="1378494"/>
                  <a:pt x="518160" y="1391920"/>
                </a:cubicBezTo>
                <a:cubicBezTo>
                  <a:pt x="524157" y="1412910"/>
                  <a:pt x="532428" y="1445848"/>
                  <a:pt x="558800" y="1452880"/>
                </a:cubicBezTo>
                <a:cubicBezTo>
                  <a:pt x="598204" y="1463388"/>
                  <a:pt x="640080" y="1459653"/>
                  <a:pt x="680720" y="1463040"/>
                </a:cubicBezTo>
                <a:cubicBezTo>
                  <a:pt x="690880" y="1469813"/>
                  <a:pt x="700278" y="1477899"/>
                  <a:pt x="711200" y="1483360"/>
                </a:cubicBezTo>
                <a:cubicBezTo>
                  <a:pt x="757022" y="1506271"/>
                  <a:pt x="728484" y="1477444"/>
                  <a:pt x="772160" y="1513840"/>
                </a:cubicBezTo>
                <a:cubicBezTo>
                  <a:pt x="800462" y="1537425"/>
                  <a:pt x="810696" y="1555062"/>
                  <a:pt x="833120" y="1584960"/>
                </a:cubicBezTo>
                <a:cubicBezTo>
                  <a:pt x="836507" y="1595120"/>
                  <a:pt x="838491" y="1605861"/>
                  <a:pt x="843280" y="1615440"/>
                </a:cubicBezTo>
                <a:cubicBezTo>
                  <a:pt x="848741" y="1626362"/>
                  <a:pt x="862085" y="1633803"/>
                  <a:pt x="863600" y="1645920"/>
                </a:cubicBezTo>
                <a:cubicBezTo>
                  <a:pt x="864675" y="1654519"/>
                  <a:pt x="846329" y="1725163"/>
                  <a:pt x="843280" y="1737360"/>
                </a:cubicBezTo>
                <a:cubicBezTo>
                  <a:pt x="846667" y="1764453"/>
                  <a:pt x="826835" y="1812500"/>
                  <a:pt x="853440" y="1818640"/>
                </a:cubicBezTo>
                <a:cubicBezTo>
                  <a:pt x="959256" y="1843059"/>
                  <a:pt x="1505737" y="1821605"/>
                  <a:pt x="1615440" y="1818640"/>
                </a:cubicBezTo>
                <a:cubicBezTo>
                  <a:pt x="1618827" y="1808480"/>
                  <a:pt x="1617237" y="1794850"/>
                  <a:pt x="1625600" y="1788160"/>
                </a:cubicBezTo>
                <a:cubicBezTo>
                  <a:pt x="1636504" y="1779437"/>
                  <a:pt x="1652814" y="1781836"/>
                  <a:pt x="1666240" y="1778000"/>
                </a:cubicBezTo>
                <a:cubicBezTo>
                  <a:pt x="1703046" y="1767484"/>
                  <a:pt x="1693804" y="1769784"/>
                  <a:pt x="1727200" y="1747520"/>
                </a:cubicBezTo>
                <a:lnTo>
                  <a:pt x="1747520" y="1686560"/>
                </a:lnTo>
                <a:cubicBezTo>
                  <a:pt x="1757703" y="1656012"/>
                  <a:pt x="1756116" y="1651861"/>
                  <a:pt x="1778000" y="1625600"/>
                </a:cubicBezTo>
                <a:cubicBezTo>
                  <a:pt x="1787198" y="1614562"/>
                  <a:pt x="1800129" y="1606812"/>
                  <a:pt x="1808480" y="1595120"/>
                </a:cubicBezTo>
                <a:cubicBezTo>
                  <a:pt x="1817283" y="1582795"/>
                  <a:pt x="1818090" y="1565190"/>
                  <a:pt x="1828800" y="1554480"/>
                </a:cubicBezTo>
                <a:cubicBezTo>
                  <a:pt x="1882269" y="1501011"/>
                  <a:pt x="1884011" y="1524936"/>
                  <a:pt x="1940560" y="1493520"/>
                </a:cubicBezTo>
                <a:cubicBezTo>
                  <a:pt x="1955362" y="1485296"/>
                  <a:pt x="1967111" y="1472433"/>
                  <a:pt x="1981200" y="1463040"/>
                </a:cubicBezTo>
                <a:cubicBezTo>
                  <a:pt x="2007784" y="1445317"/>
                  <a:pt x="2035270" y="1428985"/>
                  <a:pt x="2062480" y="1412240"/>
                </a:cubicBezTo>
                <a:cubicBezTo>
                  <a:pt x="2079298" y="1401890"/>
                  <a:pt x="2099316" y="1395724"/>
                  <a:pt x="2113280" y="1381760"/>
                </a:cubicBezTo>
                <a:cubicBezTo>
                  <a:pt x="2152394" y="1342646"/>
                  <a:pt x="2131805" y="1359250"/>
                  <a:pt x="2174240" y="1330960"/>
                </a:cubicBezTo>
                <a:cubicBezTo>
                  <a:pt x="2177627" y="1320800"/>
                  <a:pt x="2176827" y="1308053"/>
                  <a:pt x="2184400" y="1300480"/>
                </a:cubicBezTo>
                <a:cubicBezTo>
                  <a:pt x="2191973" y="1292907"/>
                  <a:pt x="2214880" y="1279610"/>
                  <a:pt x="2214880" y="1290320"/>
                </a:cubicBezTo>
                <a:lnTo>
                  <a:pt x="2184400" y="1320800"/>
                </a:lnTo>
                <a:cubicBezTo>
                  <a:pt x="2181745" y="1320136"/>
                  <a:pt x="2119905" y="1305780"/>
                  <a:pt x="2113280" y="1300480"/>
                </a:cubicBezTo>
                <a:cubicBezTo>
                  <a:pt x="2103745" y="1292852"/>
                  <a:pt x="2099733" y="1280160"/>
                  <a:pt x="2092960" y="1270000"/>
                </a:cubicBezTo>
                <a:cubicBezTo>
                  <a:pt x="2096347" y="1185333"/>
                  <a:pt x="2091137" y="1099883"/>
                  <a:pt x="2103120" y="1016000"/>
                </a:cubicBezTo>
                <a:cubicBezTo>
                  <a:pt x="2105152" y="1001776"/>
                  <a:pt x="2121645" y="993490"/>
                  <a:pt x="2133600" y="985520"/>
                </a:cubicBezTo>
                <a:cubicBezTo>
                  <a:pt x="2141176" y="980469"/>
                  <a:pt x="2200825" y="965539"/>
                  <a:pt x="2204720" y="965200"/>
                </a:cubicBezTo>
                <a:cubicBezTo>
                  <a:pt x="2268913" y="959618"/>
                  <a:pt x="2333413" y="958427"/>
                  <a:pt x="2397760" y="955040"/>
                </a:cubicBezTo>
                <a:cubicBezTo>
                  <a:pt x="2498996" y="929731"/>
                  <a:pt x="2368323" y="959990"/>
                  <a:pt x="2570480" y="934720"/>
                </a:cubicBezTo>
                <a:cubicBezTo>
                  <a:pt x="2617797" y="928805"/>
                  <a:pt x="2586060" y="921257"/>
                  <a:pt x="2631440" y="904240"/>
                </a:cubicBezTo>
                <a:cubicBezTo>
                  <a:pt x="2647609" y="898177"/>
                  <a:pt x="2665383" y="897826"/>
                  <a:pt x="2682240" y="894080"/>
                </a:cubicBezTo>
                <a:cubicBezTo>
                  <a:pt x="2695871" y="891051"/>
                  <a:pt x="2708955" y="884952"/>
                  <a:pt x="2722880" y="883920"/>
                </a:cubicBezTo>
                <a:cubicBezTo>
                  <a:pt x="2800634" y="878160"/>
                  <a:pt x="2878667" y="877147"/>
                  <a:pt x="2956560" y="873760"/>
                </a:cubicBezTo>
                <a:cubicBezTo>
                  <a:pt x="2966720" y="870373"/>
                  <a:pt x="2980815" y="872315"/>
                  <a:pt x="2987040" y="863600"/>
                </a:cubicBezTo>
                <a:cubicBezTo>
                  <a:pt x="2999490" y="846171"/>
                  <a:pt x="2998661" y="822213"/>
                  <a:pt x="3007360" y="802640"/>
                </a:cubicBezTo>
                <a:cubicBezTo>
                  <a:pt x="3012319" y="791482"/>
                  <a:pt x="3020907" y="782320"/>
                  <a:pt x="3027680" y="772160"/>
                </a:cubicBezTo>
                <a:cubicBezTo>
                  <a:pt x="3031067" y="751840"/>
                  <a:pt x="3026413" y="728340"/>
                  <a:pt x="3037840" y="711200"/>
                </a:cubicBezTo>
                <a:cubicBezTo>
                  <a:pt x="3048794" y="694769"/>
                  <a:pt x="3070977" y="689551"/>
                  <a:pt x="3088640" y="680720"/>
                </a:cubicBezTo>
                <a:cubicBezTo>
                  <a:pt x="3098219" y="675931"/>
                  <a:pt x="3109276" y="674779"/>
                  <a:pt x="3119120" y="670560"/>
                </a:cubicBezTo>
                <a:cubicBezTo>
                  <a:pt x="3133041" y="664594"/>
                  <a:pt x="3145148" y="654225"/>
                  <a:pt x="3159760" y="650240"/>
                </a:cubicBezTo>
                <a:cubicBezTo>
                  <a:pt x="3182864" y="643939"/>
                  <a:pt x="3207173" y="643467"/>
                  <a:pt x="3230880" y="640080"/>
                </a:cubicBezTo>
                <a:cubicBezTo>
                  <a:pt x="3241040" y="633307"/>
                  <a:pt x="3252726" y="628394"/>
                  <a:pt x="3261360" y="619760"/>
                </a:cubicBezTo>
                <a:cubicBezTo>
                  <a:pt x="3336973" y="544147"/>
                  <a:pt x="3250488" y="606688"/>
                  <a:pt x="3322320" y="558800"/>
                </a:cubicBezTo>
                <a:cubicBezTo>
                  <a:pt x="3329093" y="548640"/>
                  <a:pt x="3333450" y="536361"/>
                  <a:pt x="3342640" y="528320"/>
                </a:cubicBezTo>
                <a:cubicBezTo>
                  <a:pt x="3361019" y="512238"/>
                  <a:pt x="3403600" y="487680"/>
                  <a:pt x="3403600" y="487680"/>
                </a:cubicBezTo>
                <a:cubicBezTo>
                  <a:pt x="3400213" y="470747"/>
                  <a:pt x="3399503" y="453049"/>
                  <a:pt x="3393440" y="436880"/>
                </a:cubicBezTo>
                <a:cubicBezTo>
                  <a:pt x="3389153" y="425447"/>
                  <a:pt x="3377930" y="417623"/>
                  <a:pt x="3373120" y="406400"/>
                </a:cubicBezTo>
                <a:cubicBezTo>
                  <a:pt x="3367619" y="393565"/>
                  <a:pt x="3366347" y="379307"/>
                  <a:pt x="3362960" y="365760"/>
                </a:cubicBezTo>
                <a:cubicBezTo>
                  <a:pt x="3369733" y="355600"/>
                  <a:pt x="3372678" y="341338"/>
                  <a:pt x="3383280" y="335280"/>
                </a:cubicBezTo>
                <a:cubicBezTo>
                  <a:pt x="3398273" y="326712"/>
                  <a:pt x="3417223" y="328866"/>
                  <a:pt x="3434080" y="325120"/>
                </a:cubicBezTo>
                <a:cubicBezTo>
                  <a:pt x="3447711" y="322091"/>
                  <a:pt x="3461173" y="318347"/>
                  <a:pt x="3474720" y="314960"/>
                </a:cubicBezTo>
                <a:cubicBezTo>
                  <a:pt x="3547298" y="266574"/>
                  <a:pt x="3511988" y="280243"/>
                  <a:pt x="3576320" y="264160"/>
                </a:cubicBezTo>
                <a:cubicBezTo>
                  <a:pt x="3809468" y="69870"/>
                  <a:pt x="3606263" y="234082"/>
                  <a:pt x="3769360" y="111760"/>
                </a:cubicBezTo>
                <a:cubicBezTo>
                  <a:pt x="3786708" y="98749"/>
                  <a:pt x="3801565" y="82277"/>
                  <a:pt x="3820160" y="71120"/>
                </a:cubicBezTo>
                <a:cubicBezTo>
                  <a:pt x="3835346" y="62008"/>
                  <a:pt x="3880411" y="47650"/>
                  <a:pt x="3901440" y="40640"/>
                </a:cubicBezTo>
                <a:cubicBezTo>
                  <a:pt x="3931920" y="44027"/>
                  <a:pt x="3962260" y="52501"/>
                  <a:pt x="3992880" y="50800"/>
                </a:cubicBezTo>
                <a:cubicBezTo>
                  <a:pt x="4024055" y="49068"/>
                  <a:pt x="4053703" y="36603"/>
                  <a:pt x="4084320" y="30480"/>
                </a:cubicBezTo>
                <a:cubicBezTo>
                  <a:pt x="4104520" y="26440"/>
                  <a:pt x="4124919" y="23452"/>
                  <a:pt x="4145280" y="20320"/>
                </a:cubicBezTo>
                <a:cubicBezTo>
                  <a:pt x="4206039" y="10972"/>
                  <a:pt x="4235269" y="7801"/>
                  <a:pt x="4297680" y="0"/>
                </a:cubicBezTo>
                <a:cubicBezTo>
                  <a:pt x="4409440" y="3387"/>
                  <a:pt x="4521677" y="-697"/>
                  <a:pt x="4632960" y="10160"/>
                </a:cubicBezTo>
                <a:cubicBezTo>
                  <a:pt x="4661759" y="12970"/>
                  <a:pt x="4687798" y="28888"/>
                  <a:pt x="4714240" y="40640"/>
                </a:cubicBezTo>
                <a:cubicBezTo>
                  <a:pt x="4748841" y="56018"/>
                  <a:pt x="4783372" y="71959"/>
                  <a:pt x="4815840" y="91440"/>
                </a:cubicBezTo>
                <a:cubicBezTo>
                  <a:pt x="4937434" y="164396"/>
                  <a:pt x="4886754" y="144625"/>
                  <a:pt x="4978400" y="213360"/>
                </a:cubicBezTo>
                <a:cubicBezTo>
                  <a:pt x="4997937" y="228013"/>
                  <a:pt x="5019040" y="240453"/>
                  <a:pt x="5039360" y="254000"/>
                </a:cubicBezTo>
                <a:cubicBezTo>
                  <a:pt x="5049520" y="270933"/>
                  <a:pt x="5060250" y="287538"/>
                  <a:pt x="5069840" y="304800"/>
                </a:cubicBezTo>
                <a:cubicBezTo>
                  <a:pt x="5089883" y="340878"/>
                  <a:pt x="5099816" y="375416"/>
                  <a:pt x="5130800" y="406400"/>
                </a:cubicBezTo>
                <a:cubicBezTo>
                  <a:pt x="5153900" y="429500"/>
                  <a:pt x="5175468" y="448194"/>
                  <a:pt x="5191760" y="477520"/>
                </a:cubicBezTo>
                <a:cubicBezTo>
                  <a:pt x="5200617" y="493463"/>
                  <a:pt x="5204673" y="511654"/>
                  <a:pt x="5212080" y="528320"/>
                </a:cubicBezTo>
                <a:cubicBezTo>
                  <a:pt x="5218231" y="542160"/>
                  <a:pt x="5224886" y="555810"/>
                  <a:pt x="5232400" y="568960"/>
                </a:cubicBezTo>
                <a:cubicBezTo>
                  <a:pt x="5238458" y="579562"/>
                  <a:pt x="5247259" y="588518"/>
                  <a:pt x="5252720" y="599440"/>
                </a:cubicBezTo>
                <a:cubicBezTo>
                  <a:pt x="5257509" y="609019"/>
                  <a:pt x="5256190" y="621557"/>
                  <a:pt x="5262880" y="629920"/>
                </a:cubicBezTo>
                <a:cubicBezTo>
                  <a:pt x="5270508" y="639455"/>
                  <a:pt x="5283200" y="643467"/>
                  <a:pt x="5293360" y="650240"/>
                </a:cubicBezTo>
                <a:cubicBezTo>
                  <a:pt x="5300133" y="677333"/>
                  <a:pt x="5301977" y="706163"/>
                  <a:pt x="5313680" y="731520"/>
                </a:cubicBezTo>
                <a:cubicBezTo>
                  <a:pt x="5322767" y="751209"/>
                  <a:pt x="5341623" y="764740"/>
                  <a:pt x="5354320" y="782320"/>
                </a:cubicBezTo>
                <a:cubicBezTo>
                  <a:pt x="5385672" y="825730"/>
                  <a:pt x="5414265" y="871094"/>
                  <a:pt x="5445760" y="914400"/>
                </a:cubicBezTo>
                <a:cubicBezTo>
                  <a:pt x="5468472" y="945628"/>
                  <a:pt x="5501197" y="970554"/>
                  <a:pt x="5516880" y="1005840"/>
                </a:cubicBezTo>
                <a:cubicBezTo>
                  <a:pt x="5586884" y="1163348"/>
                  <a:pt x="5523319" y="1041164"/>
                  <a:pt x="5598160" y="1148080"/>
                </a:cubicBezTo>
                <a:cubicBezTo>
                  <a:pt x="5609484" y="1164258"/>
                  <a:pt x="5618174" y="1182134"/>
                  <a:pt x="5628640" y="1198880"/>
                </a:cubicBezTo>
                <a:cubicBezTo>
                  <a:pt x="5635112" y="1209235"/>
                  <a:pt x="5639425" y="1221732"/>
                  <a:pt x="5648960" y="1229360"/>
                </a:cubicBezTo>
                <a:cubicBezTo>
                  <a:pt x="5657323" y="1236050"/>
                  <a:pt x="5669280" y="1236133"/>
                  <a:pt x="5679440" y="1239520"/>
                </a:cubicBezTo>
                <a:cubicBezTo>
                  <a:pt x="5689600" y="1249680"/>
                  <a:pt x="5697965" y="1262030"/>
                  <a:pt x="5709920" y="1270000"/>
                </a:cubicBezTo>
                <a:cubicBezTo>
                  <a:pt x="5787681" y="1321841"/>
                  <a:pt x="5768175" y="1278493"/>
                  <a:pt x="5852160" y="1351280"/>
                </a:cubicBezTo>
                <a:cubicBezTo>
                  <a:pt x="5879365" y="1374858"/>
                  <a:pt x="5897824" y="1407104"/>
                  <a:pt x="5923280" y="1432560"/>
                </a:cubicBezTo>
                <a:cubicBezTo>
                  <a:pt x="5945358" y="1454638"/>
                  <a:pt x="5970693" y="1473200"/>
                  <a:pt x="5994400" y="1493520"/>
                </a:cubicBezTo>
                <a:cubicBezTo>
                  <a:pt x="6003967" y="1509920"/>
                  <a:pt x="6066750" y="1611537"/>
                  <a:pt x="6085840" y="1656080"/>
                </a:cubicBezTo>
                <a:cubicBezTo>
                  <a:pt x="6090059" y="1665924"/>
                  <a:pt x="6093677" y="1676105"/>
                  <a:pt x="6096000" y="1686560"/>
                </a:cubicBezTo>
                <a:cubicBezTo>
                  <a:pt x="6100469" y="1706670"/>
                  <a:pt x="6093800" y="1731040"/>
                  <a:pt x="6106160" y="1747520"/>
                </a:cubicBezTo>
                <a:cubicBezTo>
                  <a:pt x="6110210" y="1752919"/>
                  <a:pt x="6172950" y="1773170"/>
                  <a:pt x="6187440" y="1778000"/>
                </a:cubicBezTo>
                <a:cubicBezTo>
                  <a:pt x="6197600" y="1791547"/>
                  <a:pt x="6205946" y="1806666"/>
                  <a:pt x="6217920" y="1818640"/>
                </a:cubicBezTo>
                <a:cubicBezTo>
                  <a:pt x="6226554" y="1827274"/>
                  <a:pt x="6243865" y="1827623"/>
                  <a:pt x="6248400" y="1838960"/>
                </a:cubicBezTo>
                <a:cubicBezTo>
                  <a:pt x="6252377" y="1848904"/>
                  <a:pt x="6241627" y="1859280"/>
                  <a:pt x="6238240" y="1869440"/>
                </a:cubicBezTo>
                <a:cubicBezTo>
                  <a:pt x="6246981" y="1895664"/>
                  <a:pt x="6261593" y="1922696"/>
                  <a:pt x="6238240" y="1950720"/>
                </a:cubicBezTo>
                <a:cubicBezTo>
                  <a:pt x="6229301" y="1961447"/>
                  <a:pt x="6211147" y="1957493"/>
                  <a:pt x="6197600" y="1960880"/>
                </a:cubicBezTo>
                <a:cubicBezTo>
                  <a:pt x="6200987" y="1991360"/>
                  <a:pt x="6196370" y="2023846"/>
                  <a:pt x="6207760" y="2052320"/>
                </a:cubicBezTo>
                <a:cubicBezTo>
                  <a:pt x="6211737" y="2062264"/>
                  <a:pt x="6229877" y="2055790"/>
                  <a:pt x="6238240" y="2062480"/>
                </a:cubicBezTo>
                <a:cubicBezTo>
                  <a:pt x="6247775" y="2070108"/>
                  <a:pt x="6251787" y="2082800"/>
                  <a:pt x="6258560" y="2092960"/>
                </a:cubicBezTo>
                <a:cubicBezTo>
                  <a:pt x="6261947" y="2120053"/>
                  <a:pt x="6262098" y="2147751"/>
                  <a:pt x="6268720" y="2174240"/>
                </a:cubicBezTo>
                <a:cubicBezTo>
                  <a:pt x="6273876" y="2194865"/>
                  <a:pt x="6297267" y="2227220"/>
                  <a:pt x="6309360" y="2245360"/>
                </a:cubicBezTo>
                <a:cubicBezTo>
                  <a:pt x="6319520" y="2241973"/>
                  <a:pt x="6329213" y="2233872"/>
                  <a:pt x="6339840" y="2235200"/>
                </a:cubicBezTo>
                <a:cubicBezTo>
                  <a:pt x="6352713" y="2236809"/>
                  <a:pt x="6417503" y="2267574"/>
                  <a:pt x="6431280" y="2275840"/>
                </a:cubicBezTo>
                <a:cubicBezTo>
                  <a:pt x="6452221" y="2288405"/>
                  <a:pt x="6472703" y="2301827"/>
                  <a:pt x="6492240" y="2316480"/>
                </a:cubicBezTo>
                <a:cubicBezTo>
                  <a:pt x="6538627" y="2351270"/>
                  <a:pt x="6561969" y="2381824"/>
                  <a:pt x="6614160" y="2407920"/>
                </a:cubicBezTo>
                <a:cubicBezTo>
                  <a:pt x="6626649" y="2414165"/>
                  <a:pt x="6641253" y="2414693"/>
                  <a:pt x="6654800" y="2418080"/>
                </a:cubicBezTo>
                <a:cubicBezTo>
                  <a:pt x="6664960" y="2428240"/>
                  <a:pt x="6675929" y="2437651"/>
                  <a:pt x="6685280" y="2448560"/>
                </a:cubicBezTo>
                <a:cubicBezTo>
                  <a:pt x="6751987" y="2526385"/>
                  <a:pt x="6694352" y="2467792"/>
                  <a:pt x="6725920" y="249936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2"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Decision Boundary Perspective…</a:t>
            </a:r>
          </a:p>
        </p:txBody>
      </p:sp>
      <p:pic>
        <p:nvPicPr>
          <p:cNvPr id="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43271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6312147" y="494797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 name="Oval 5"/>
          <p:cNvSpPr/>
          <p:nvPr/>
        </p:nvSpPr>
        <p:spPr>
          <a:xfrm>
            <a:off x="4446940" y="2797810"/>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Oval 6"/>
          <p:cNvSpPr/>
          <p:nvPr/>
        </p:nvSpPr>
        <p:spPr>
          <a:xfrm>
            <a:off x="4285030" y="3534502"/>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 name="Oval 7"/>
          <p:cNvSpPr/>
          <p:nvPr/>
        </p:nvSpPr>
        <p:spPr>
          <a:xfrm>
            <a:off x="4757808" y="3108677"/>
            <a:ext cx="320582" cy="414490"/>
          </a:xfrm>
          <a:prstGeom prst="ellipse">
            <a:avLst/>
          </a:prstGeom>
          <a:solidFill>
            <a:srgbClr val="FFC00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9" name="Oval 8"/>
          <p:cNvSpPr/>
          <p:nvPr/>
        </p:nvSpPr>
        <p:spPr>
          <a:xfrm>
            <a:off x="4607232" y="3989469"/>
            <a:ext cx="32058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Oval 9"/>
          <p:cNvSpPr/>
          <p:nvPr/>
        </p:nvSpPr>
        <p:spPr>
          <a:xfrm>
            <a:off x="5068676" y="3419545"/>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 name="Oval 10"/>
          <p:cNvSpPr/>
          <p:nvPr/>
        </p:nvSpPr>
        <p:spPr>
          <a:xfrm>
            <a:off x="4072926" y="419833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 name="Oval 11"/>
          <p:cNvSpPr/>
          <p:nvPr/>
        </p:nvSpPr>
        <p:spPr>
          <a:xfrm>
            <a:off x="3554813" y="3327257"/>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3" name="Oval 12"/>
          <p:cNvSpPr/>
          <p:nvPr/>
        </p:nvSpPr>
        <p:spPr>
          <a:xfrm>
            <a:off x="5342303" y="2456179"/>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 name="Oval 13"/>
          <p:cNvSpPr/>
          <p:nvPr/>
        </p:nvSpPr>
        <p:spPr>
          <a:xfrm>
            <a:off x="3477096" y="4582061"/>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 name="Oval 14"/>
          <p:cNvSpPr/>
          <p:nvPr/>
        </p:nvSpPr>
        <p:spPr>
          <a:xfrm>
            <a:off x="3389666" y="3970040"/>
            <a:ext cx="320582" cy="41611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 name="Oval 15"/>
          <p:cNvSpPr/>
          <p:nvPr/>
        </p:nvSpPr>
        <p:spPr>
          <a:xfrm>
            <a:off x="6223095" y="2310460"/>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 name="Oval 16"/>
          <p:cNvSpPr/>
          <p:nvPr/>
        </p:nvSpPr>
        <p:spPr>
          <a:xfrm>
            <a:off x="6726637" y="263266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 name="Oval 17"/>
          <p:cNvSpPr/>
          <p:nvPr/>
        </p:nvSpPr>
        <p:spPr>
          <a:xfrm>
            <a:off x="6564727" y="3367734"/>
            <a:ext cx="32220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 name="Oval 18"/>
          <p:cNvSpPr/>
          <p:nvPr/>
        </p:nvSpPr>
        <p:spPr>
          <a:xfrm>
            <a:off x="7037505" y="2943529"/>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 name="Oval 19"/>
          <p:cNvSpPr/>
          <p:nvPr/>
        </p:nvSpPr>
        <p:spPr>
          <a:xfrm>
            <a:off x="6886929" y="382432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 name="Oval 20"/>
          <p:cNvSpPr/>
          <p:nvPr/>
        </p:nvSpPr>
        <p:spPr>
          <a:xfrm>
            <a:off x="7348373" y="3254397"/>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 name="Oval 21"/>
          <p:cNvSpPr/>
          <p:nvPr/>
        </p:nvSpPr>
        <p:spPr>
          <a:xfrm>
            <a:off x="6352623" y="4031566"/>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3" name="Oval 22"/>
          <p:cNvSpPr/>
          <p:nvPr/>
        </p:nvSpPr>
        <p:spPr>
          <a:xfrm>
            <a:off x="5834510" y="3160489"/>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4" name="Oval 23"/>
          <p:cNvSpPr/>
          <p:nvPr/>
        </p:nvSpPr>
        <p:spPr>
          <a:xfrm>
            <a:off x="5721175" y="2642376"/>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5" name="Oval 24"/>
          <p:cNvSpPr/>
          <p:nvPr/>
        </p:nvSpPr>
        <p:spPr>
          <a:xfrm>
            <a:off x="5068676" y="4531871"/>
            <a:ext cx="320582" cy="41610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6" name="Oval 25"/>
          <p:cNvSpPr/>
          <p:nvPr/>
        </p:nvSpPr>
        <p:spPr>
          <a:xfrm>
            <a:off x="5502595" y="4117379"/>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7" name="Oval 26"/>
          <p:cNvSpPr/>
          <p:nvPr/>
        </p:nvSpPr>
        <p:spPr>
          <a:xfrm>
            <a:off x="5876609" y="4716447"/>
            <a:ext cx="320582" cy="414490"/>
          </a:xfrm>
          <a:prstGeom prst="ellipse">
            <a:avLst/>
          </a:prstGeom>
          <a:solidFill>
            <a:schemeClr val="accent2"/>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8" name="Oval 27"/>
          <p:cNvSpPr/>
          <p:nvPr/>
        </p:nvSpPr>
        <p:spPr>
          <a:xfrm>
            <a:off x="5716317" y="2227885"/>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9" name="Oval 28"/>
          <p:cNvSpPr/>
          <p:nvPr/>
        </p:nvSpPr>
        <p:spPr>
          <a:xfrm>
            <a:off x="6430340" y="293381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33" name="Straight Arrow Connector 32"/>
          <p:cNvCxnSpPr/>
          <p:nvPr/>
        </p:nvCxnSpPr>
        <p:spPr>
          <a:xfrm flipV="1">
            <a:off x="9192530" y="4405581"/>
            <a:ext cx="103623" cy="331916"/>
          </a:xfrm>
          <a:prstGeom prst="straightConnector1">
            <a:avLst/>
          </a:prstGeom>
          <a:ln w="63500">
            <a:solidFill>
              <a:srgbClr val="0033C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9067860" y="4735876"/>
            <a:ext cx="113337" cy="354583"/>
          </a:xfrm>
          <a:prstGeom prst="straightConnector1">
            <a:avLst/>
          </a:prstGeom>
          <a:ln w="63500">
            <a:solidFill>
              <a:srgbClr val="FFCC00"/>
            </a:solidFill>
            <a:tailEnd type="triangle"/>
          </a:ln>
        </p:spPr>
        <p:style>
          <a:lnRef idx="1">
            <a:schemeClr val="accent1"/>
          </a:lnRef>
          <a:fillRef idx="0">
            <a:schemeClr val="accent1"/>
          </a:fillRef>
          <a:effectRef idx="0">
            <a:schemeClr val="accent1"/>
          </a:effectRef>
          <a:fontRef idx="minor">
            <a:schemeClr val="tx1"/>
          </a:fontRef>
        </p:style>
      </p:cxnSp>
      <p:sp>
        <p:nvSpPr>
          <p:cNvPr id="25630" name="TextBox 34"/>
          <p:cNvSpPr txBox="1">
            <a:spLocks noChangeArrowheads="1"/>
          </p:cNvSpPr>
          <p:nvPr/>
        </p:nvSpPr>
        <p:spPr bwMode="auto">
          <a:xfrm>
            <a:off x="1943807" y="1368143"/>
            <a:ext cx="6555484"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Present a training instance / adjust the weights</a:t>
            </a:r>
          </a:p>
        </p:txBody>
      </p:sp>
      <p:sp>
        <p:nvSpPr>
          <p:cNvPr id="4" name="Freeform 3"/>
          <p:cNvSpPr/>
          <p:nvPr/>
        </p:nvSpPr>
        <p:spPr>
          <a:xfrm>
            <a:off x="2581732" y="2414082"/>
            <a:ext cx="6787280" cy="2550087"/>
          </a:xfrm>
          <a:custGeom>
            <a:avLst/>
            <a:gdLst>
              <a:gd name="connsiteX0" fmla="*/ 0 w 6654800"/>
              <a:gd name="connsiteY0" fmla="*/ 1351280 h 2499360"/>
              <a:gd name="connsiteX1" fmla="*/ 101600 w 6654800"/>
              <a:gd name="connsiteY1" fmla="*/ 1341120 h 2499360"/>
              <a:gd name="connsiteX2" fmla="*/ 162560 w 6654800"/>
              <a:gd name="connsiteY2" fmla="*/ 1320800 h 2499360"/>
              <a:gd name="connsiteX3" fmla="*/ 203200 w 6654800"/>
              <a:gd name="connsiteY3" fmla="*/ 1310640 h 2499360"/>
              <a:gd name="connsiteX4" fmla="*/ 233680 w 6654800"/>
              <a:gd name="connsiteY4" fmla="*/ 1290320 h 2499360"/>
              <a:gd name="connsiteX5" fmla="*/ 274320 w 6654800"/>
              <a:gd name="connsiteY5" fmla="*/ 1259840 h 2499360"/>
              <a:gd name="connsiteX6" fmla="*/ 355600 w 6654800"/>
              <a:gd name="connsiteY6" fmla="*/ 1239520 h 2499360"/>
              <a:gd name="connsiteX7" fmla="*/ 528320 w 6654800"/>
              <a:gd name="connsiteY7" fmla="*/ 1249680 h 2499360"/>
              <a:gd name="connsiteX8" fmla="*/ 548640 w 6654800"/>
              <a:gd name="connsiteY8" fmla="*/ 1280160 h 2499360"/>
              <a:gd name="connsiteX9" fmla="*/ 579120 w 6654800"/>
              <a:gd name="connsiteY9" fmla="*/ 1300480 h 2499360"/>
              <a:gd name="connsiteX10" fmla="*/ 609600 w 6654800"/>
              <a:gd name="connsiteY10" fmla="*/ 1330960 h 2499360"/>
              <a:gd name="connsiteX11" fmla="*/ 650240 w 6654800"/>
              <a:gd name="connsiteY11" fmla="*/ 1351280 h 2499360"/>
              <a:gd name="connsiteX12" fmla="*/ 690880 w 6654800"/>
              <a:gd name="connsiteY12" fmla="*/ 1391920 h 2499360"/>
              <a:gd name="connsiteX13" fmla="*/ 721360 w 6654800"/>
              <a:gd name="connsiteY13" fmla="*/ 1463040 h 2499360"/>
              <a:gd name="connsiteX14" fmla="*/ 802640 w 6654800"/>
              <a:gd name="connsiteY14" fmla="*/ 1483360 h 2499360"/>
              <a:gd name="connsiteX15" fmla="*/ 812800 w 6654800"/>
              <a:gd name="connsiteY15" fmla="*/ 1513840 h 2499360"/>
              <a:gd name="connsiteX16" fmla="*/ 853440 w 6654800"/>
              <a:gd name="connsiteY16" fmla="*/ 1574800 h 2499360"/>
              <a:gd name="connsiteX17" fmla="*/ 934720 w 6654800"/>
              <a:gd name="connsiteY17" fmla="*/ 1584960 h 2499360"/>
              <a:gd name="connsiteX18" fmla="*/ 995680 w 6654800"/>
              <a:gd name="connsiteY18" fmla="*/ 1625600 h 2499360"/>
              <a:gd name="connsiteX19" fmla="*/ 1066800 w 6654800"/>
              <a:gd name="connsiteY19" fmla="*/ 1645920 h 2499360"/>
              <a:gd name="connsiteX20" fmla="*/ 1087120 w 6654800"/>
              <a:gd name="connsiteY20" fmla="*/ 1676400 h 2499360"/>
              <a:gd name="connsiteX21" fmla="*/ 1158240 w 6654800"/>
              <a:gd name="connsiteY21" fmla="*/ 1717040 h 2499360"/>
              <a:gd name="connsiteX22" fmla="*/ 1259840 w 6654800"/>
              <a:gd name="connsiteY22" fmla="*/ 1747520 h 2499360"/>
              <a:gd name="connsiteX23" fmla="*/ 1432560 w 6654800"/>
              <a:gd name="connsiteY23" fmla="*/ 1757680 h 2499360"/>
              <a:gd name="connsiteX24" fmla="*/ 1483360 w 6654800"/>
              <a:gd name="connsiteY24" fmla="*/ 1778000 h 2499360"/>
              <a:gd name="connsiteX25" fmla="*/ 1524000 w 6654800"/>
              <a:gd name="connsiteY25" fmla="*/ 1818640 h 2499360"/>
              <a:gd name="connsiteX26" fmla="*/ 1584960 w 6654800"/>
              <a:gd name="connsiteY26" fmla="*/ 1808480 h 2499360"/>
              <a:gd name="connsiteX27" fmla="*/ 1645920 w 6654800"/>
              <a:gd name="connsiteY27" fmla="*/ 1767840 h 2499360"/>
              <a:gd name="connsiteX28" fmla="*/ 1706880 w 6654800"/>
              <a:gd name="connsiteY28" fmla="*/ 1666240 h 2499360"/>
              <a:gd name="connsiteX29" fmla="*/ 1717040 w 6654800"/>
              <a:gd name="connsiteY29" fmla="*/ 1635760 h 2499360"/>
              <a:gd name="connsiteX30" fmla="*/ 1818640 w 6654800"/>
              <a:gd name="connsiteY30" fmla="*/ 1605280 h 2499360"/>
              <a:gd name="connsiteX31" fmla="*/ 1869440 w 6654800"/>
              <a:gd name="connsiteY31" fmla="*/ 1595120 h 2499360"/>
              <a:gd name="connsiteX32" fmla="*/ 1910080 w 6654800"/>
              <a:gd name="connsiteY32" fmla="*/ 1584960 h 2499360"/>
              <a:gd name="connsiteX33" fmla="*/ 1991360 w 6654800"/>
              <a:gd name="connsiteY33" fmla="*/ 1574800 h 2499360"/>
              <a:gd name="connsiteX34" fmla="*/ 2052320 w 6654800"/>
              <a:gd name="connsiteY34" fmla="*/ 1584960 h 2499360"/>
              <a:gd name="connsiteX35" fmla="*/ 2082800 w 6654800"/>
              <a:gd name="connsiteY35" fmla="*/ 1615440 h 2499360"/>
              <a:gd name="connsiteX36" fmla="*/ 2113280 w 6654800"/>
              <a:gd name="connsiteY36" fmla="*/ 1625600 h 2499360"/>
              <a:gd name="connsiteX37" fmla="*/ 2143760 w 6654800"/>
              <a:gd name="connsiteY37" fmla="*/ 1656080 h 2499360"/>
              <a:gd name="connsiteX38" fmla="*/ 2174240 w 6654800"/>
              <a:gd name="connsiteY38" fmla="*/ 1645920 h 2499360"/>
              <a:gd name="connsiteX39" fmla="*/ 2214880 w 6654800"/>
              <a:gd name="connsiteY39" fmla="*/ 1635760 h 2499360"/>
              <a:gd name="connsiteX40" fmla="*/ 2458720 w 6654800"/>
              <a:gd name="connsiteY40" fmla="*/ 1584960 h 2499360"/>
              <a:gd name="connsiteX41" fmla="*/ 2479040 w 6654800"/>
              <a:gd name="connsiteY41" fmla="*/ 1544320 h 2499360"/>
              <a:gd name="connsiteX42" fmla="*/ 2489200 w 6654800"/>
              <a:gd name="connsiteY42" fmla="*/ 1513840 h 2499360"/>
              <a:gd name="connsiteX43" fmla="*/ 2509520 w 6654800"/>
              <a:gd name="connsiteY43" fmla="*/ 1483360 h 2499360"/>
              <a:gd name="connsiteX44" fmla="*/ 2529840 w 6654800"/>
              <a:gd name="connsiteY44" fmla="*/ 1442720 h 2499360"/>
              <a:gd name="connsiteX45" fmla="*/ 2580640 w 6654800"/>
              <a:gd name="connsiteY45" fmla="*/ 1422400 h 2499360"/>
              <a:gd name="connsiteX46" fmla="*/ 2702560 w 6654800"/>
              <a:gd name="connsiteY46" fmla="*/ 1432560 h 2499360"/>
              <a:gd name="connsiteX47" fmla="*/ 2733040 w 6654800"/>
              <a:gd name="connsiteY47" fmla="*/ 1513840 h 2499360"/>
              <a:gd name="connsiteX48" fmla="*/ 2763520 w 6654800"/>
              <a:gd name="connsiteY48" fmla="*/ 1524000 h 2499360"/>
              <a:gd name="connsiteX49" fmla="*/ 2824480 w 6654800"/>
              <a:gd name="connsiteY49" fmla="*/ 1493520 h 2499360"/>
              <a:gd name="connsiteX50" fmla="*/ 2885440 w 6654800"/>
              <a:gd name="connsiteY50" fmla="*/ 1452880 h 2499360"/>
              <a:gd name="connsiteX51" fmla="*/ 2926080 w 6654800"/>
              <a:gd name="connsiteY51" fmla="*/ 1422400 h 2499360"/>
              <a:gd name="connsiteX52" fmla="*/ 2956560 w 6654800"/>
              <a:gd name="connsiteY52" fmla="*/ 1391920 h 2499360"/>
              <a:gd name="connsiteX53" fmla="*/ 2987040 w 6654800"/>
              <a:gd name="connsiteY53" fmla="*/ 1381760 h 2499360"/>
              <a:gd name="connsiteX54" fmla="*/ 3007360 w 6654800"/>
              <a:gd name="connsiteY54" fmla="*/ 1351280 h 2499360"/>
              <a:gd name="connsiteX55" fmla="*/ 3017520 w 6654800"/>
              <a:gd name="connsiteY55" fmla="*/ 1320800 h 2499360"/>
              <a:gd name="connsiteX56" fmla="*/ 3048000 w 6654800"/>
              <a:gd name="connsiteY56" fmla="*/ 1300480 h 2499360"/>
              <a:gd name="connsiteX57" fmla="*/ 3058160 w 6654800"/>
              <a:gd name="connsiteY57" fmla="*/ 1270000 h 2499360"/>
              <a:gd name="connsiteX58" fmla="*/ 3088640 w 6654800"/>
              <a:gd name="connsiteY58" fmla="*/ 1239520 h 2499360"/>
              <a:gd name="connsiteX59" fmla="*/ 3108960 w 6654800"/>
              <a:gd name="connsiteY59" fmla="*/ 1209040 h 2499360"/>
              <a:gd name="connsiteX60" fmla="*/ 3119120 w 6654800"/>
              <a:gd name="connsiteY60" fmla="*/ 1087120 h 2499360"/>
              <a:gd name="connsiteX61" fmla="*/ 3149600 w 6654800"/>
              <a:gd name="connsiteY61" fmla="*/ 1036320 h 2499360"/>
              <a:gd name="connsiteX62" fmla="*/ 3200400 w 6654800"/>
              <a:gd name="connsiteY62" fmla="*/ 894080 h 2499360"/>
              <a:gd name="connsiteX63" fmla="*/ 3230880 w 6654800"/>
              <a:gd name="connsiteY63" fmla="*/ 863600 h 2499360"/>
              <a:gd name="connsiteX64" fmla="*/ 3261360 w 6654800"/>
              <a:gd name="connsiteY64" fmla="*/ 853440 h 2499360"/>
              <a:gd name="connsiteX65" fmla="*/ 3373120 w 6654800"/>
              <a:gd name="connsiteY65" fmla="*/ 853440 h 2499360"/>
              <a:gd name="connsiteX66" fmla="*/ 3393440 w 6654800"/>
              <a:gd name="connsiteY66" fmla="*/ 772160 h 2499360"/>
              <a:gd name="connsiteX67" fmla="*/ 3434080 w 6654800"/>
              <a:gd name="connsiteY67" fmla="*/ 731520 h 2499360"/>
              <a:gd name="connsiteX68" fmla="*/ 3464560 w 6654800"/>
              <a:gd name="connsiteY68" fmla="*/ 619760 h 2499360"/>
              <a:gd name="connsiteX69" fmla="*/ 3474720 w 6654800"/>
              <a:gd name="connsiteY69" fmla="*/ 579120 h 2499360"/>
              <a:gd name="connsiteX70" fmla="*/ 3495040 w 6654800"/>
              <a:gd name="connsiteY70" fmla="*/ 548640 h 2499360"/>
              <a:gd name="connsiteX71" fmla="*/ 3505200 w 6654800"/>
              <a:gd name="connsiteY71" fmla="*/ 487680 h 2499360"/>
              <a:gd name="connsiteX72" fmla="*/ 3545840 w 6654800"/>
              <a:gd name="connsiteY72" fmla="*/ 477520 h 2499360"/>
              <a:gd name="connsiteX73" fmla="*/ 3667760 w 6654800"/>
              <a:gd name="connsiteY73" fmla="*/ 467360 h 2499360"/>
              <a:gd name="connsiteX74" fmla="*/ 3749040 w 6654800"/>
              <a:gd name="connsiteY74" fmla="*/ 416560 h 2499360"/>
              <a:gd name="connsiteX75" fmla="*/ 3799840 w 6654800"/>
              <a:gd name="connsiteY75" fmla="*/ 365760 h 2499360"/>
              <a:gd name="connsiteX76" fmla="*/ 3992880 w 6654800"/>
              <a:gd name="connsiteY76" fmla="*/ 193040 h 2499360"/>
              <a:gd name="connsiteX77" fmla="*/ 4043680 w 6654800"/>
              <a:gd name="connsiteY77" fmla="*/ 213360 h 2499360"/>
              <a:gd name="connsiteX78" fmla="*/ 4104640 w 6654800"/>
              <a:gd name="connsiteY78" fmla="*/ 223520 h 2499360"/>
              <a:gd name="connsiteX79" fmla="*/ 4155440 w 6654800"/>
              <a:gd name="connsiteY79" fmla="*/ 233680 h 2499360"/>
              <a:gd name="connsiteX80" fmla="*/ 4236720 w 6654800"/>
              <a:gd name="connsiteY80" fmla="*/ 254000 h 2499360"/>
              <a:gd name="connsiteX81" fmla="*/ 4277360 w 6654800"/>
              <a:gd name="connsiteY81" fmla="*/ 264160 h 2499360"/>
              <a:gd name="connsiteX82" fmla="*/ 4378960 w 6654800"/>
              <a:gd name="connsiteY82" fmla="*/ 254000 h 2499360"/>
              <a:gd name="connsiteX83" fmla="*/ 4490720 w 6654800"/>
              <a:gd name="connsiteY83" fmla="*/ 162560 h 2499360"/>
              <a:gd name="connsiteX84" fmla="*/ 4582160 w 6654800"/>
              <a:gd name="connsiteY84" fmla="*/ 81280 h 2499360"/>
              <a:gd name="connsiteX85" fmla="*/ 4632960 w 6654800"/>
              <a:gd name="connsiteY85" fmla="*/ 40640 h 2499360"/>
              <a:gd name="connsiteX86" fmla="*/ 4714240 w 6654800"/>
              <a:gd name="connsiteY86" fmla="*/ 0 h 2499360"/>
              <a:gd name="connsiteX87" fmla="*/ 4856480 w 6654800"/>
              <a:gd name="connsiteY87" fmla="*/ 20320 h 2499360"/>
              <a:gd name="connsiteX88" fmla="*/ 4927600 w 6654800"/>
              <a:gd name="connsiteY88" fmla="*/ 40640 h 2499360"/>
              <a:gd name="connsiteX89" fmla="*/ 4978400 w 6654800"/>
              <a:gd name="connsiteY89" fmla="*/ 71120 h 2499360"/>
              <a:gd name="connsiteX90" fmla="*/ 5029200 w 6654800"/>
              <a:gd name="connsiteY90" fmla="*/ 132080 h 2499360"/>
              <a:gd name="connsiteX91" fmla="*/ 5059680 w 6654800"/>
              <a:gd name="connsiteY91" fmla="*/ 162560 h 2499360"/>
              <a:gd name="connsiteX92" fmla="*/ 5100320 w 6654800"/>
              <a:gd name="connsiteY92" fmla="*/ 314960 h 2499360"/>
              <a:gd name="connsiteX93" fmla="*/ 5130800 w 6654800"/>
              <a:gd name="connsiteY93" fmla="*/ 325120 h 2499360"/>
              <a:gd name="connsiteX94" fmla="*/ 5181600 w 6654800"/>
              <a:gd name="connsiteY94" fmla="*/ 355600 h 2499360"/>
              <a:gd name="connsiteX95" fmla="*/ 5222240 w 6654800"/>
              <a:gd name="connsiteY95" fmla="*/ 375920 h 2499360"/>
              <a:gd name="connsiteX96" fmla="*/ 5262880 w 6654800"/>
              <a:gd name="connsiteY96" fmla="*/ 436880 h 2499360"/>
              <a:gd name="connsiteX97" fmla="*/ 5283200 w 6654800"/>
              <a:gd name="connsiteY97" fmla="*/ 467360 h 2499360"/>
              <a:gd name="connsiteX98" fmla="*/ 5293360 w 6654800"/>
              <a:gd name="connsiteY98" fmla="*/ 497840 h 2499360"/>
              <a:gd name="connsiteX99" fmla="*/ 5313680 w 6654800"/>
              <a:gd name="connsiteY99" fmla="*/ 538480 h 2499360"/>
              <a:gd name="connsiteX100" fmla="*/ 5334000 w 6654800"/>
              <a:gd name="connsiteY100" fmla="*/ 619760 h 2499360"/>
              <a:gd name="connsiteX101" fmla="*/ 5354320 w 6654800"/>
              <a:gd name="connsiteY101" fmla="*/ 650240 h 2499360"/>
              <a:gd name="connsiteX102" fmla="*/ 5364480 w 6654800"/>
              <a:gd name="connsiteY102" fmla="*/ 680720 h 2499360"/>
              <a:gd name="connsiteX103" fmla="*/ 5394960 w 6654800"/>
              <a:gd name="connsiteY103" fmla="*/ 701040 h 2499360"/>
              <a:gd name="connsiteX104" fmla="*/ 5425440 w 6654800"/>
              <a:gd name="connsiteY104" fmla="*/ 731520 h 2499360"/>
              <a:gd name="connsiteX105" fmla="*/ 5476240 w 6654800"/>
              <a:gd name="connsiteY105" fmla="*/ 772160 h 2499360"/>
              <a:gd name="connsiteX106" fmla="*/ 5577840 w 6654800"/>
              <a:gd name="connsiteY106" fmla="*/ 924560 h 2499360"/>
              <a:gd name="connsiteX107" fmla="*/ 5638800 w 6654800"/>
              <a:gd name="connsiteY107" fmla="*/ 1005840 h 2499360"/>
              <a:gd name="connsiteX108" fmla="*/ 5709920 w 6654800"/>
              <a:gd name="connsiteY108" fmla="*/ 1168400 h 2499360"/>
              <a:gd name="connsiteX109" fmla="*/ 5720080 w 6654800"/>
              <a:gd name="connsiteY109" fmla="*/ 1219200 h 2499360"/>
              <a:gd name="connsiteX110" fmla="*/ 5781040 w 6654800"/>
              <a:gd name="connsiteY110" fmla="*/ 1270000 h 2499360"/>
              <a:gd name="connsiteX111" fmla="*/ 5872480 w 6654800"/>
              <a:gd name="connsiteY111" fmla="*/ 1371600 h 2499360"/>
              <a:gd name="connsiteX112" fmla="*/ 5923280 w 6654800"/>
              <a:gd name="connsiteY112" fmla="*/ 1452880 h 2499360"/>
              <a:gd name="connsiteX113" fmla="*/ 5984240 w 6654800"/>
              <a:gd name="connsiteY113" fmla="*/ 1524000 h 2499360"/>
              <a:gd name="connsiteX114" fmla="*/ 6055360 w 6654800"/>
              <a:gd name="connsiteY114" fmla="*/ 1666240 h 2499360"/>
              <a:gd name="connsiteX115" fmla="*/ 6136640 w 6654800"/>
              <a:gd name="connsiteY115" fmla="*/ 1778000 h 2499360"/>
              <a:gd name="connsiteX116" fmla="*/ 6146800 w 6654800"/>
              <a:gd name="connsiteY116" fmla="*/ 1991360 h 2499360"/>
              <a:gd name="connsiteX117" fmla="*/ 6156960 w 6654800"/>
              <a:gd name="connsiteY117" fmla="*/ 2021840 h 2499360"/>
              <a:gd name="connsiteX118" fmla="*/ 6268720 w 6654800"/>
              <a:gd name="connsiteY118" fmla="*/ 2042160 h 2499360"/>
              <a:gd name="connsiteX119" fmla="*/ 6319520 w 6654800"/>
              <a:gd name="connsiteY119" fmla="*/ 2052320 h 2499360"/>
              <a:gd name="connsiteX120" fmla="*/ 6350000 w 6654800"/>
              <a:gd name="connsiteY120" fmla="*/ 2072640 h 2499360"/>
              <a:gd name="connsiteX121" fmla="*/ 6390640 w 6654800"/>
              <a:gd name="connsiteY121" fmla="*/ 2092960 h 2499360"/>
              <a:gd name="connsiteX122" fmla="*/ 6410960 w 6654800"/>
              <a:gd name="connsiteY122" fmla="*/ 2123440 h 2499360"/>
              <a:gd name="connsiteX123" fmla="*/ 6471920 w 6654800"/>
              <a:gd name="connsiteY123" fmla="*/ 2164080 h 2499360"/>
              <a:gd name="connsiteX124" fmla="*/ 6502400 w 6654800"/>
              <a:gd name="connsiteY124" fmla="*/ 2225040 h 2499360"/>
              <a:gd name="connsiteX125" fmla="*/ 6512560 w 6654800"/>
              <a:gd name="connsiteY125" fmla="*/ 2275840 h 2499360"/>
              <a:gd name="connsiteX126" fmla="*/ 6563360 w 6654800"/>
              <a:gd name="connsiteY126" fmla="*/ 2326640 h 2499360"/>
              <a:gd name="connsiteX127" fmla="*/ 6634480 w 6654800"/>
              <a:gd name="connsiteY127" fmla="*/ 2458720 h 2499360"/>
              <a:gd name="connsiteX128" fmla="*/ 6654800 w 6654800"/>
              <a:gd name="connsiteY128" fmla="*/ 249936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6654800" h="2499360">
                <a:moveTo>
                  <a:pt x="0" y="1351280"/>
                </a:moveTo>
                <a:cubicBezTo>
                  <a:pt x="33867" y="1347893"/>
                  <a:pt x="68147" y="1347392"/>
                  <a:pt x="101600" y="1341120"/>
                </a:cubicBezTo>
                <a:cubicBezTo>
                  <a:pt x="122652" y="1337173"/>
                  <a:pt x="141780" y="1325995"/>
                  <a:pt x="162560" y="1320800"/>
                </a:cubicBezTo>
                <a:lnTo>
                  <a:pt x="203200" y="1310640"/>
                </a:lnTo>
                <a:cubicBezTo>
                  <a:pt x="213360" y="1303867"/>
                  <a:pt x="223744" y="1297417"/>
                  <a:pt x="233680" y="1290320"/>
                </a:cubicBezTo>
                <a:cubicBezTo>
                  <a:pt x="247459" y="1280478"/>
                  <a:pt x="259618" y="1268241"/>
                  <a:pt x="274320" y="1259840"/>
                </a:cubicBezTo>
                <a:cubicBezTo>
                  <a:pt x="291142" y="1250227"/>
                  <a:pt x="342737" y="1242093"/>
                  <a:pt x="355600" y="1239520"/>
                </a:cubicBezTo>
                <a:cubicBezTo>
                  <a:pt x="413173" y="1242907"/>
                  <a:pt x="471884" y="1237799"/>
                  <a:pt x="528320" y="1249680"/>
                </a:cubicBezTo>
                <a:cubicBezTo>
                  <a:pt x="540269" y="1252196"/>
                  <a:pt x="540006" y="1271526"/>
                  <a:pt x="548640" y="1280160"/>
                </a:cubicBezTo>
                <a:cubicBezTo>
                  <a:pt x="557274" y="1288794"/>
                  <a:pt x="569739" y="1292663"/>
                  <a:pt x="579120" y="1300480"/>
                </a:cubicBezTo>
                <a:cubicBezTo>
                  <a:pt x="590158" y="1309678"/>
                  <a:pt x="597908" y="1322609"/>
                  <a:pt x="609600" y="1330960"/>
                </a:cubicBezTo>
                <a:cubicBezTo>
                  <a:pt x="621925" y="1339763"/>
                  <a:pt x="638123" y="1342193"/>
                  <a:pt x="650240" y="1351280"/>
                </a:cubicBezTo>
                <a:cubicBezTo>
                  <a:pt x="665566" y="1362775"/>
                  <a:pt x="677333" y="1378373"/>
                  <a:pt x="690880" y="1391920"/>
                </a:cubicBezTo>
                <a:cubicBezTo>
                  <a:pt x="694832" y="1407727"/>
                  <a:pt x="701313" y="1453017"/>
                  <a:pt x="721360" y="1463040"/>
                </a:cubicBezTo>
                <a:cubicBezTo>
                  <a:pt x="746339" y="1475529"/>
                  <a:pt x="802640" y="1483360"/>
                  <a:pt x="802640" y="1483360"/>
                </a:cubicBezTo>
                <a:cubicBezTo>
                  <a:pt x="806027" y="1493520"/>
                  <a:pt x="809858" y="1503542"/>
                  <a:pt x="812800" y="1513840"/>
                </a:cubicBezTo>
                <a:cubicBezTo>
                  <a:pt x="822078" y="1546313"/>
                  <a:pt x="814703" y="1564235"/>
                  <a:pt x="853440" y="1574800"/>
                </a:cubicBezTo>
                <a:cubicBezTo>
                  <a:pt x="879782" y="1581984"/>
                  <a:pt x="907627" y="1581573"/>
                  <a:pt x="934720" y="1584960"/>
                </a:cubicBezTo>
                <a:cubicBezTo>
                  <a:pt x="955040" y="1598507"/>
                  <a:pt x="971988" y="1619677"/>
                  <a:pt x="995680" y="1625600"/>
                </a:cubicBezTo>
                <a:cubicBezTo>
                  <a:pt x="1046710" y="1638357"/>
                  <a:pt x="1023073" y="1631344"/>
                  <a:pt x="1066800" y="1645920"/>
                </a:cubicBezTo>
                <a:cubicBezTo>
                  <a:pt x="1073573" y="1656080"/>
                  <a:pt x="1078486" y="1667766"/>
                  <a:pt x="1087120" y="1676400"/>
                </a:cubicBezTo>
                <a:cubicBezTo>
                  <a:pt x="1099339" y="1688619"/>
                  <a:pt x="1144959" y="1711728"/>
                  <a:pt x="1158240" y="1717040"/>
                </a:cubicBezTo>
                <a:cubicBezTo>
                  <a:pt x="1168371" y="1721093"/>
                  <a:pt x="1240193" y="1745649"/>
                  <a:pt x="1259840" y="1747520"/>
                </a:cubicBezTo>
                <a:cubicBezTo>
                  <a:pt x="1317253" y="1752988"/>
                  <a:pt x="1374987" y="1754293"/>
                  <a:pt x="1432560" y="1757680"/>
                </a:cubicBezTo>
                <a:cubicBezTo>
                  <a:pt x="1449493" y="1764453"/>
                  <a:pt x="1469349" y="1766324"/>
                  <a:pt x="1483360" y="1778000"/>
                </a:cubicBezTo>
                <a:cubicBezTo>
                  <a:pt x="1555609" y="1838207"/>
                  <a:pt x="1424658" y="1785526"/>
                  <a:pt x="1524000" y="1818640"/>
                </a:cubicBezTo>
                <a:cubicBezTo>
                  <a:pt x="1544320" y="1815253"/>
                  <a:pt x="1565944" y="1816403"/>
                  <a:pt x="1584960" y="1808480"/>
                </a:cubicBezTo>
                <a:cubicBezTo>
                  <a:pt x="1607503" y="1799087"/>
                  <a:pt x="1645920" y="1767840"/>
                  <a:pt x="1645920" y="1767840"/>
                </a:cubicBezTo>
                <a:cubicBezTo>
                  <a:pt x="1674811" y="1724503"/>
                  <a:pt x="1688135" y="1709978"/>
                  <a:pt x="1706880" y="1666240"/>
                </a:cubicBezTo>
                <a:cubicBezTo>
                  <a:pt x="1711099" y="1656396"/>
                  <a:pt x="1709467" y="1643333"/>
                  <a:pt x="1717040" y="1635760"/>
                </a:cubicBezTo>
                <a:cubicBezTo>
                  <a:pt x="1741043" y="1611757"/>
                  <a:pt x="1790430" y="1610409"/>
                  <a:pt x="1818640" y="1605280"/>
                </a:cubicBezTo>
                <a:cubicBezTo>
                  <a:pt x="1835630" y="1602191"/>
                  <a:pt x="1852583" y="1598866"/>
                  <a:pt x="1869440" y="1595120"/>
                </a:cubicBezTo>
                <a:cubicBezTo>
                  <a:pt x="1883071" y="1592091"/>
                  <a:pt x="1896306" y="1587256"/>
                  <a:pt x="1910080" y="1584960"/>
                </a:cubicBezTo>
                <a:cubicBezTo>
                  <a:pt x="1937013" y="1580471"/>
                  <a:pt x="1964267" y="1578187"/>
                  <a:pt x="1991360" y="1574800"/>
                </a:cubicBezTo>
                <a:cubicBezTo>
                  <a:pt x="2011680" y="1578187"/>
                  <a:pt x="2033495" y="1576593"/>
                  <a:pt x="2052320" y="1584960"/>
                </a:cubicBezTo>
                <a:cubicBezTo>
                  <a:pt x="2065450" y="1590796"/>
                  <a:pt x="2070845" y="1607470"/>
                  <a:pt x="2082800" y="1615440"/>
                </a:cubicBezTo>
                <a:cubicBezTo>
                  <a:pt x="2091711" y="1621381"/>
                  <a:pt x="2103120" y="1622213"/>
                  <a:pt x="2113280" y="1625600"/>
                </a:cubicBezTo>
                <a:cubicBezTo>
                  <a:pt x="2123440" y="1635760"/>
                  <a:pt x="2130129" y="1651536"/>
                  <a:pt x="2143760" y="1656080"/>
                </a:cubicBezTo>
                <a:cubicBezTo>
                  <a:pt x="2153920" y="1659467"/>
                  <a:pt x="2163942" y="1648862"/>
                  <a:pt x="2174240" y="1645920"/>
                </a:cubicBezTo>
                <a:cubicBezTo>
                  <a:pt x="2187666" y="1642084"/>
                  <a:pt x="2201333" y="1639147"/>
                  <a:pt x="2214880" y="1635760"/>
                </a:cubicBezTo>
                <a:cubicBezTo>
                  <a:pt x="2326640" y="1561253"/>
                  <a:pt x="2251456" y="1596475"/>
                  <a:pt x="2458720" y="1584960"/>
                </a:cubicBezTo>
                <a:cubicBezTo>
                  <a:pt x="2465493" y="1571413"/>
                  <a:pt x="2473074" y="1558241"/>
                  <a:pt x="2479040" y="1544320"/>
                </a:cubicBezTo>
                <a:cubicBezTo>
                  <a:pt x="2483259" y="1534476"/>
                  <a:pt x="2484411" y="1523419"/>
                  <a:pt x="2489200" y="1513840"/>
                </a:cubicBezTo>
                <a:cubicBezTo>
                  <a:pt x="2494661" y="1502918"/>
                  <a:pt x="2503462" y="1493962"/>
                  <a:pt x="2509520" y="1483360"/>
                </a:cubicBezTo>
                <a:cubicBezTo>
                  <a:pt x="2517034" y="1470210"/>
                  <a:pt x="2518341" y="1452577"/>
                  <a:pt x="2529840" y="1442720"/>
                </a:cubicBezTo>
                <a:cubicBezTo>
                  <a:pt x="2543687" y="1430851"/>
                  <a:pt x="2563707" y="1429173"/>
                  <a:pt x="2580640" y="1422400"/>
                </a:cubicBezTo>
                <a:cubicBezTo>
                  <a:pt x="2621280" y="1425787"/>
                  <a:pt x="2663348" y="1421357"/>
                  <a:pt x="2702560" y="1432560"/>
                </a:cubicBezTo>
                <a:cubicBezTo>
                  <a:pt x="2728148" y="1439871"/>
                  <a:pt x="2726582" y="1504152"/>
                  <a:pt x="2733040" y="1513840"/>
                </a:cubicBezTo>
                <a:cubicBezTo>
                  <a:pt x="2738981" y="1522751"/>
                  <a:pt x="2753360" y="1520613"/>
                  <a:pt x="2763520" y="1524000"/>
                </a:cubicBezTo>
                <a:cubicBezTo>
                  <a:pt x="2794068" y="1513817"/>
                  <a:pt x="2798219" y="1515404"/>
                  <a:pt x="2824480" y="1493520"/>
                </a:cubicBezTo>
                <a:cubicBezTo>
                  <a:pt x="2875217" y="1451239"/>
                  <a:pt x="2831875" y="1470735"/>
                  <a:pt x="2885440" y="1452880"/>
                </a:cubicBezTo>
                <a:cubicBezTo>
                  <a:pt x="2898987" y="1442720"/>
                  <a:pt x="2913223" y="1433420"/>
                  <a:pt x="2926080" y="1422400"/>
                </a:cubicBezTo>
                <a:cubicBezTo>
                  <a:pt x="2936989" y="1413049"/>
                  <a:pt x="2944605" y="1399890"/>
                  <a:pt x="2956560" y="1391920"/>
                </a:cubicBezTo>
                <a:cubicBezTo>
                  <a:pt x="2965471" y="1385979"/>
                  <a:pt x="2976880" y="1385147"/>
                  <a:pt x="2987040" y="1381760"/>
                </a:cubicBezTo>
                <a:cubicBezTo>
                  <a:pt x="2993813" y="1371600"/>
                  <a:pt x="3001899" y="1362202"/>
                  <a:pt x="3007360" y="1351280"/>
                </a:cubicBezTo>
                <a:cubicBezTo>
                  <a:pt x="3012149" y="1341701"/>
                  <a:pt x="3010830" y="1329163"/>
                  <a:pt x="3017520" y="1320800"/>
                </a:cubicBezTo>
                <a:cubicBezTo>
                  <a:pt x="3025148" y="1311265"/>
                  <a:pt x="3037840" y="1307253"/>
                  <a:pt x="3048000" y="1300480"/>
                </a:cubicBezTo>
                <a:cubicBezTo>
                  <a:pt x="3051387" y="1290320"/>
                  <a:pt x="3052219" y="1278911"/>
                  <a:pt x="3058160" y="1270000"/>
                </a:cubicBezTo>
                <a:cubicBezTo>
                  <a:pt x="3066130" y="1258045"/>
                  <a:pt x="3079442" y="1250558"/>
                  <a:pt x="3088640" y="1239520"/>
                </a:cubicBezTo>
                <a:cubicBezTo>
                  <a:pt x="3096457" y="1230139"/>
                  <a:pt x="3102187" y="1219200"/>
                  <a:pt x="3108960" y="1209040"/>
                </a:cubicBezTo>
                <a:cubicBezTo>
                  <a:pt x="3112347" y="1168400"/>
                  <a:pt x="3109780" y="1126817"/>
                  <a:pt x="3119120" y="1087120"/>
                </a:cubicBezTo>
                <a:cubicBezTo>
                  <a:pt x="3123643" y="1067897"/>
                  <a:pt x="3144028" y="1055265"/>
                  <a:pt x="3149600" y="1036320"/>
                </a:cubicBezTo>
                <a:cubicBezTo>
                  <a:pt x="3208734" y="835265"/>
                  <a:pt x="3124731" y="957138"/>
                  <a:pt x="3200400" y="894080"/>
                </a:cubicBezTo>
                <a:cubicBezTo>
                  <a:pt x="3211438" y="884882"/>
                  <a:pt x="3218925" y="871570"/>
                  <a:pt x="3230880" y="863600"/>
                </a:cubicBezTo>
                <a:cubicBezTo>
                  <a:pt x="3239791" y="857659"/>
                  <a:pt x="3251200" y="856827"/>
                  <a:pt x="3261360" y="853440"/>
                </a:cubicBezTo>
                <a:cubicBezTo>
                  <a:pt x="3285073" y="858183"/>
                  <a:pt x="3351537" y="877721"/>
                  <a:pt x="3373120" y="853440"/>
                </a:cubicBezTo>
                <a:cubicBezTo>
                  <a:pt x="3391674" y="832567"/>
                  <a:pt x="3380951" y="797139"/>
                  <a:pt x="3393440" y="772160"/>
                </a:cubicBezTo>
                <a:cubicBezTo>
                  <a:pt x="3402008" y="755025"/>
                  <a:pt x="3420533" y="745067"/>
                  <a:pt x="3434080" y="731520"/>
                </a:cubicBezTo>
                <a:cubicBezTo>
                  <a:pt x="3453071" y="674546"/>
                  <a:pt x="3441643" y="711430"/>
                  <a:pt x="3464560" y="619760"/>
                </a:cubicBezTo>
                <a:cubicBezTo>
                  <a:pt x="3467947" y="606213"/>
                  <a:pt x="3466974" y="590738"/>
                  <a:pt x="3474720" y="579120"/>
                </a:cubicBezTo>
                <a:lnTo>
                  <a:pt x="3495040" y="548640"/>
                </a:lnTo>
                <a:cubicBezTo>
                  <a:pt x="3498427" y="528320"/>
                  <a:pt x="3493226" y="504443"/>
                  <a:pt x="3505200" y="487680"/>
                </a:cubicBezTo>
                <a:cubicBezTo>
                  <a:pt x="3513316" y="476317"/>
                  <a:pt x="3531984" y="479252"/>
                  <a:pt x="3545840" y="477520"/>
                </a:cubicBezTo>
                <a:cubicBezTo>
                  <a:pt x="3586306" y="472462"/>
                  <a:pt x="3627120" y="470747"/>
                  <a:pt x="3667760" y="467360"/>
                </a:cubicBezTo>
                <a:cubicBezTo>
                  <a:pt x="3706693" y="447893"/>
                  <a:pt x="3715125" y="446707"/>
                  <a:pt x="3749040" y="416560"/>
                </a:cubicBezTo>
                <a:cubicBezTo>
                  <a:pt x="3766938" y="400650"/>
                  <a:pt x="3781942" y="381670"/>
                  <a:pt x="3799840" y="365760"/>
                </a:cubicBezTo>
                <a:cubicBezTo>
                  <a:pt x="4013095" y="176200"/>
                  <a:pt x="3861623" y="324297"/>
                  <a:pt x="3992880" y="193040"/>
                </a:cubicBezTo>
                <a:cubicBezTo>
                  <a:pt x="4009813" y="199813"/>
                  <a:pt x="4026085" y="208561"/>
                  <a:pt x="4043680" y="213360"/>
                </a:cubicBezTo>
                <a:cubicBezTo>
                  <a:pt x="4063554" y="218780"/>
                  <a:pt x="4084372" y="219835"/>
                  <a:pt x="4104640" y="223520"/>
                </a:cubicBezTo>
                <a:cubicBezTo>
                  <a:pt x="4121630" y="226609"/>
                  <a:pt x="4138614" y="229797"/>
                  <a:pt x="4155440" y="233680"/>
                </a:cubicBezTo>
                <a:cubicBezTo>
                  <a:pt x="4182652" y="239960"/>
                  <a:pt x="4209627" y="247227"/>
                  <a:pt x="4236720" y="254000"/>
                </a:cubicBezTo>
                <a:lnTo>
                  <a:pt x="4277360" y="264160"/>
                </a:lnTo>
                <a:cubicBezTo>
                  <a:pt x="4311227" y="260773"/>
                  <a:pt x="4348231" y="268633"/>
                  <a:pt x="4378960" y="254000"/>
                </a:cubicBezTo>
                <a:cubicBezTo>
                  <a:pt x="4422418" y="233306"/>
                  <a:pt x="4453363" y="192913"/>
                  <a:pt x="4490720" y="162560"/>
                </a:cubicBezTo>
                <a:cubicBezTo>
                  <a:pt x="4659398" y="25509"/>
                  <a:pt x="4435263" y="211855"/>
                  <a:pt x="4582160" y="81280"/>
                </a:cubicBezTo>
                <a:cubicBezTo>
                  <a:pt x="4598368" y="66873"/>
                  <a:pt x="4614492" y="52005"/>
                  <a:pt x="4632960" y="40640"/>
                </a:cubicBezTo>
                <a:cubicBezTo>
                  <a:pt x="4658758" y="24764"/>
                  <a:pt x="4714240" y="0"/>
                  <a:pt x="4714240" y="0"/>
                </a:cubicBezTo>
                <a:cubicBezTo>
                  <a:pt x="4796139" y="27300"/>
                  <a:pt x="4678406" y="-9359"/>
                  <a:pt x="4856480" y="20320"/>
                </a:cubicBezTo>
                <a:cubicBezTo>
                  <a:pt x="4880800" y="24373"/>
                  <a:pt x="4903893" y="33867"/>
                  <a:pt x="4927600" y="40640"/>
                </a:cubicBezTo>
                <a:cubicBezTo>
                  <a:pt x="4944533" y="50800"/>
                  <a:pt x="4962602" y="59272"/>
                  <a:pt x="4978400" y="71120"/>
                </a:cubicBezTo>
                <a:cubicBezTo>
                  <a:pt x="5017977" y="100803"/>
                  <a:pt x="5000517" y="97660"/>
                  <a:pt x="5029200" y="132080"/>
                </a:cubicBezTo>
                <a:cubicBezTo>
                  <a:pt x="5038398" y="143118"/>
                  <a:pt x="5049520" y="152400"/>
                  <a:pt x="5059680" y="162560"/>
                </a:cubicBezTo>
                <a:cubicBezTo>
                  <a:pt x="5060879" y="167354"/>
                  <a:pt x="5094488" y="305629"/>
                  <a:pt x="5100320" y="314960"/>
                </a:cubicBezTo>
                <a:cubicBezTo>
                  <a:pt x="5105996" y="324042"/>
                  <a:pt x="5121221" y="320331"/>
                  <a:pt x="5130800" y="325120"/>
                </a:cubicBezTo>
                <a:cubicBezTo>
                  <a:pt x="5148463" y="333951"/>
                  <a:pt x="5164338" y="346010"/>
                  <a:pt x="5181600" y="355600"/>
                </a:cubicBezTo>
                <a:cubicBezTo>
                  <a:pt x="5194840" y="362955"/>
                  <a:pt x="5208693" y="369147"/>
                  <a:pt x="5222240" y="375920"/>
                </a:cubicBezTo>
                <a:lnTo>
                  <a:pt x="5262880" y="436880"/>
                </a:lnTo>
                <a:cubicBezTo>
                  <a:pt x="5269653" y="447040"/>
                  <a:pt x="5279339" y="455776"/>
                  <a:pt x="5283200" y="467360"/>
                </a:cubicBezTo>
                <a:cubicBezTo>
                  <a:pt x="5286587" y="477520"/>
                  <a:pt x="5289141" y="487996"/>
                  <a:pt x="5293360" y="497840"/>
                </a:cubicBezTo>
                <a:cubicBezTo>
                  <a:pt x="5299326" y="511761"/>
                  <a:pt x="5308891" y="524112"/>
                  <a:pt x="5313680" y="538480"/>
                </a:cubicBezTo>
                <a:cubicBezTo>
                  <a:pt x="5322511" y="564974"/>
                  <a:pt x="5318509" y="596523"/>
                  <a:pt x="5334000" y="619760"/>
                </a:cubicBezTo>
                <a:cubicBezTo>
                  <a:pt x="5340773" y="629920"/>
                  <a:pt x="5348859" y="639318"/>
                  <a:pt x="5354320" y="650240"/>
                </a:cubicBezTo>
                <a:cubicBezTo>
                  <a:pt x="5359109" y="659819"/>
                  <a:pt x="5357790" y="672357"/>
                  <a:pt x="5364480" y="680720"/>
                </a:cubicBezTo>
                <a:cubicBezTo>
                  <a:pt x="5372108" y="690255"/>
                  <a:pt x="5385579" y="693223"/>
                  <a:pt x="5394960" y="701040"/>
                </a:cubicBezTo>
                <a:cubicBezTo>
                  <a:pt x="5405998" y="710238"/>
                  <a:pt x="5414627" y="722058"/>
                  <a:pt x="5425440" y="731520"/>
                </a:cubicBezTo>
                <a:cubicBezTo>
                  <a:pt x="5441760" y="745800"/>
                  <a:pt x="5462803" y="755140"/>
                  <a:pt x="5476240" y="772160"/>
                </a:cubicBezTo>
                <a:cubicBezTo>
                  <a:pt x="5514072" y="820080"/>
                  <a:pt x="5541208" y="875717"/>
                  <a:pt x="5577840" y="924560"/>
                </a:cubicBezTo>
                <a:cubicBezTo>
                  <a:pt x="5598160" y="951653"/>
                  <a:pt x="5620851" y="977121"/>
                  <a:pt x="5638800" y="1005840"/>
                </a:cubicBezTo>
                <a:cubicBezTo>
                  <a:pt x="5664174" y="1046439"/>
                  <a:pt x="5695748" y="1122341"/>
                  <a:pt x="5709920" y="1168400"/>
                </a:cubicBezTo>
                <a:cubicBezTo>
                  <a:pt x="5714998" y="1184905"/>
                  <a:pt x="5712357" y="1203754"/>
                  <a:pt x="5720080" y="1219200"/>
                </a:cubicBezTo>
                <a:cubicBezTo>
                  <a:pt x="5733292" y="1245623"/>
                  <a:pt x="5760618" y="1252495"/>
                  <a:pt x="5781040" y="1270000"/>
                </a:cubicBezTo>
                <a:cubicBezTo>
                  <a:pt x="5807938" y="1293056"/>
                  <a:pt x="5854211" y="1346024"/>
                  <a:pt x="5872480" y="1371600"/>
                </a:cubicBezTo>
                <a:cubicBezTo>
                  <a:pt x="5891050" y="1397599"/>
                  <a:pt x="5904386" y="1427116"/>
                  <a:pt x="5923280" y="1452880"/>
                </a:cubicBezTo>
                <a:cubicBezTo>
                  <a:pt x="5941744" y="1478059"/>
                  <a:pt x="5967805" y="1497452"/>
                  <a:pt x="5984240" y="1524000"/>
                </a:cubicBezTo>
                <a:cubicBezTo>
                  <a:pt x="6012142" y="1569072"/>
                  <a:pt x="6023554" y="1623832"/>
                  <a:pt x="6055360" y="1666240"/>
                </a:cubicBezTo>
                <a:cubicBezTo>
                  <a:pt x="6123646" y="1757289"/>
                  <a:pt x="6097534" y="1719341"/>
                  <a:pt x="6136640" y="1778000"/>
                </a:cubicBezTo>
                <a:cubicBezTo>
                  <a:pt x="6140027" y="1849120"/>
                  <a:pt x="6140887" y="1920405"/>
                  <a:pt x="6146800" y="1991360"/>
                </a:cubicBezTo>
                <a:cubicBezTo>
                  <a:pt x="6147689" y="2002033"/>
                  <a:pt x="6147074" y="2017721"/>
                  <a:pt x="6156960" y="2021840"/>
                </a:cubicBezTo>
                <a:cubicBezTo>
                  <a:pt x="6191911" y="2036403"/>
                  <a:pt x="6231504" y="2035182"/>
                  <a:pt x="6268720" y="2042160"/>
                </a:cubicBezTo>
                <a:cubicBezTo>
                  <a:pt x="6285693" y="2045342"/>
                  <a:pt x="6302587" y="2048933"/>
                  <a:pt x="6319520" y="2052320"/>
                </a:cubicBezTo>
                <a:cubicBezTo>
                  <a:pt x="6329680" y="2059093"/>
                  <a:pt x="6339398" y="2066582"/>
                  <a:pt x="6350000" y="2072640"/>
                </a:cubicBezTo>
                <a:cubicBezTo>
                  <a:pt x="6363150" y="2080154"/>
                  <a:pt x="6379005" y="2083264"/>
                  <a:pt x="6390640" y="2092960"/>
                </a:cubicBezTo>
                <a:cubicBezTo>
                  <a:pt x="6400021" y="2100777"/>
                  <a:pt x="6401770" y="2115399"/>
                  <a:pt x="6410960" y="2123440"/>
                </a:cubicBezTo>
                <a:cubicBezTo>
                  <a:pt x="6429339" y="2139522"/>
                  <a:pt x="6471920" y="2164080"/>
                  <a:pt x="6471920" y="2164080"/>
                </a:cubicBezTo>
                <a:cubicBezTo>
                  <a:pt x="6491786" y="2193879"/>
                  <a:pt x="6493987" y="2191389"/>
                  <a:pt x="6502400" y="2225040"/>
                </a:cubicBezTo>
                <a:cubicBezTo>
                  <a:pt x="6506588" y="2241793"/>
                  <a:pt x="6506497" y="2259671"/>
                  <a:pt x="6512560" y="2275840"/>
                </a:cubicBezTo>
                <a:cubicBezTo>
                  <a:pt x="6523849" y="2305944"/>
                  <a:pt x="6538524" y="2310083"/>
                  <a:pt x="6563360" y="2326640"/>
                </a:cubicBezTo>
                <a:cubicBezTo>
                  <a:pt x="6585236" y="2363100"/>
                  <a:pt x="6622112" y="2421616"/>
                  <a:pt x="6634480" y="2458720"/>
                </a:cubicBezTo>
                <a:cubicBezTo>
                  <a:pt x="6646155" y="2493744"/>
                  <a:pt x="6637067" y="2481627"/>
                  <a:pt x="6654800" y="249936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2"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Decision Boundary Perspective…</a:t>
            </a:r>
          </a:p>
        </p:txBody>
      </p:sp>
      <p:pic>
        <p:nvPicPr>
          <p:cNvPr id="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51686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6312147" y="494797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 name="Oval 5"/>
          <p:cNvSpPr/>
          <p:nvPr/>
        </p:nvSpPr>
        <p:spPr>
          <a:xfrm>
            <a:off x="4446940" y="2797810"/>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Oval 6"/>
          <p:cNvSpPr/>
          <p:nvPr/>
        </p:nvSpPr>
        <p:spPr>
          <a:xfrm>
            <a:off x="4285030" y="3534502"/>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 name="Oval 7"/>
          <p:cNvSpPr/>
          <p:nvPr/>
        </p:nvSpPr>
        <p:spPr>
          <a:xfrm>
            <a:off x="4757808" y="3108677"/>
            <a:ext cx="320582" cy="414490"/>
          </a:xfrm>
          <a:prstGeom prst="ellipse">
            <a:avLst/>
          </a:prstGeom>
          <a:solidFill>
            <a:srgbClr val="FFC00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9" name="Oval 8"/>
          <p:cNvSpPr/>
          <p:nvPr/>
        </p:nvSpPr>
        <p:spPr>
          <a:xfrm>
            <a:off x="4607232" y="3989469"/>
            <a:ext cx="32058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Oval 9"/>
          <p:cNvSpPr/>
          <p:nvPr/>
        </p:nvSpPr>
        <p:spPr>
          <a:xfrm>
            <a:off x="5068676" y="3419545"/>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 name="Oval 10"/>
          <p:cNvSpPr/>
          <p:nvPr/>
        </p:nvSpPr>
        <p:spPr>
          <a:xfrm>
            <a:off x="4072926" y="419833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 name="Oval 11"/>
          <p:cNvSpPr/>
          <p:nvPr/>
        </p:nvSpPr>
        <p:spPr>
          <a:xfrm>
            <a:off x="3554813" y="3327257"/>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3" name="Oval 12"/>
          <p:cNvSpPr/>
          <p:nvPr/>
        </p:nvSpPr>
        <p:spPr>
          <a:xfrm>
            <a:off x="5342303" y="2456179"/>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 name="Oval 13"/>
          <p:cNvSpPr/>
          <p:nvPr/>
        </p:nvSpPr>
        <p:spPr>
          <a:xfrm>
            <a:off x="3477096" y="4582061"/>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 name="Oval 14"/>
          <p:cNvSpPr/>
          <p:nvPr/>
        </p:nvSpPr>
        <p:spPr>
          <a:xfrm>
            <a:off x="3389666" y="3970040"/>
            <a:ext cx="320582" cy="41611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 name="Oval 15"/>
          <p:cNvSpPr/>
          <p:nvPr/>
        </p:nvSpPr>
        <p:spPr>
          <a:xfrm>
            <a:off x="6223095" y="2310460"/>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 name="Oval 16"/>
          <p:cNvSpPr/>
          <p:nvPr/>
        </p:nvSpPr>
        <p:spPr>
          <a:xfrm>
            <a:off x="6726637" y="263266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 name="Oval 17"/>
          <p:cNvSpPr/>
          <p:nvPr/>
        </p:nvSpPr>
        <p:spPr>
          <a:xfrm>
            <a:off x="6564727" y="3367734"/>
            <a:ext cx="322202" cy="416110"/>
          </a:xfrm>
          <a:prstGeom prst="ellipse">
            <a:avLst/>
          </a:prstGeom>
          <a:solidFill>
            <a:srgbClr val="FFC0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 name="Oval 18"/>
          <p:cNvSpPr/>
          <p:nvPr/>
        </p:nvSpPr>
        <p:spPr>
          <a:xfrm>
            <a:off x="7037505" y="2943529"/>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 name="Oval 19"/>
          <p:cNvSpPr/>
          <p:nvPr/>
        </p:nvSpPr>
        <p:spPr>
          <a:xfrm>
            <a:off x="6886929" y="382432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 name="Oval 20"/>
          <p:cNvSpPr/>
          <p:nvPr/>
        </p:nvSpPr>
        <p:spPr>
          <a:xfrm>
            <a:off x="7348373" y="3254397"/>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 name="Oval 21"/>
          <p:cNvSpPr/>
          <p:nvPr/>
        </p:nvSpPr>
        <p:spPr>
          <a:xfrm>
            <a:off x="6352623" y="4031566"/>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3" name="Oval 22"/>
          <p:cNvSpPr/>
          <p:nvPr/>
        </p:nvSpPr>
        <p:spPr>
          <a:xfrm>
            <a:off x="5834510" y="3160489"/>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4" name="Oval 23"/>
          <p:cNvSpPr/>
          <p:nvPr/>
        </p:nvSpPr>
        <p:spPr>
          <a:xfrm>
            <a:off x="5721175" y="2642376"/>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5" name="Oval 24"/>
          <p:cNvSpPr/>
          <p:nvPr/>
        </p:nvSpPr>
        <p:spPr>
          <a:xfrm>
            <a:off x="5068676" y="4531871"/>
            <a:ext cx="320582" cy="41610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6" name="Oval 25"/>
          <p:cNvSpPr/>
          <p:nvPr/>
        </p:nvSpPr>
        <p:spPr>
          <a:xfrm>
            <a:off x="5502595" y="4117379"/>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7" name="Oval 26"/>
          <p:cNvSpPr/>
          <p:nvPr/>
        </p:nvSpPr>
        <p:spPr>
          <a:xfrm>
            <a:off x="5876609" y="4716447"/>
            <a:ext cx="320582" cy="414490"/>
          </a:xfrm>
          <a:prstGeom prst="ellipse">
            <a:avLst/>
          </a:prstGeom>
          <a:solidFill>
            <a:schemeClr val="accent2"/>
          </a:solidFill>
          <a:ln>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8" name="Oval 27"/>
          <p:cNvSpPr/>
          <p:nvPr/>
        </p:nvSpPr>
        <p:spPr>
          <a:xfrm>
            <a:off x="5716317" y="2227885"/>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9" name="Oval 28"/>
          <p:cNvSpPr/>
          <p:nvPr/>
        </p:nvSpPr>
        <p:spPr>
          <a:xfrm>
            <a:off x="6430340" y="293381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33" name="Straight Arrow Connector 32"/>
          <p:cNvCxnSpPr/>
          <p:nvPr/>
        </p:nvCxnSpPr>
        <p:spPr>
          <a:xfrm flipV="1">
            <a:off x="9192530" y="4405581"/>
            <a:ext cx="103623" cy="331916"/>
          </a:xfrm>
          <a:prstGeom prst="straightConnector1">
            <a:avLst/>
          </a:prstGeom>
          <a:ln w="63500">
            <a:solidFill>
              <a:srgbClr val="0033C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9067860" y="4735876"/>
            <a:ext cx="113337" cy="354583"/>
          </a:xfrm>
          <a:prstGeom prst="straightConnector1">
            <a:avLst/>
          </a:prstGeom>
          <a:ln w="63500">
            <a:solidFill>
              <a:srgbClr val="FFCC00"/>
            </a:solidFill>
            <a:tailEnd type="triangle"/>
          </a:ln>
        </p:spPr>
        <p:style>
          <a:lnRef idx="1">
            <a:schemeClr val="accent1"/>
          </a:lnRef>
          <a:fillRef idx="0">
            <a:schemeClr val="accent1"/>
          </a:fillRef>
          <a:effectRef idx="0">
            <a:schemeClr val="accent1"/>
          </a:effectRef>
          <a:fontRef idx="minor">
            <a:schemeClr val="tx1"/>
          </a:fontRef>
        </p:style>
      </p:cxnSp>
      <p:sp>
        <p:nvSpPr>
          <p:cNvPr id="26654" name="TextBox 34"/>
          <p:cNvSpPr txBox="1">
            <a:spLocks noChangeArrowheads="1"/>
          </p:cNvSpPr>
          <p:nvPr/>
        </p:nvSpPr>
        <p:spPr bwMode="auto">
          <a:xfrm>
            <a:off x="1943807" y="1368143"/>
            <a:ext cx="6555484"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Present a training instance / adjust the weights</a:t>
            </a:r>
          </a:p>
        </p:txBody>
      </p:sp>
      <p:sp>
        <p:nvSpPr>
          <p:cNvPr id="3" name="Freeform 2"/>
          <p:cNvSpPr/>
          <p:nvPr/>
        </p:nvSpPr>
        <p:spPr>
          <a:xfrm>
            <a:off x="2570400" y="2548468"/>
            <a:ext cx="6881188" cy="2352557"/>
          </a:xfrm>
          <a:custGeom>
            <a:avLst/>
            <a:gdLst>
              <a:gd name="connsiteX0" fmla="*/ 0 w 6746240"/>
              <a:gd name="connsiteY0" fmla="*/ 1280160 h 2306320"/>
              <a:gd name="connsiteX1" fmla="*/ 121920 w 6746240"/>
              <a:gd name="connsiteY1" fmla="*/ 1259840 h 2306320"/>
              <a:gd name="connsiteX2" fmla="*/ 182880 w 6746240"/>
              <a:gd name="connsiteY2" fmla="*/ 1239520 h 2306320"/>
              <a:gd name="connsiteX3" fmla="*/ 274320 w 6746240"/>
              <a:gd name="connsiteY3" fmla="*/ 1209040 h 2306320"/>
              <a:gd name="connsiteX4" fmla="*/ 304800 w 6746240"/>
              <a:gd name="connsiteY4" fmla="*/ 1198880 h 2306320"/>
              <a:gd name="connsiteX5" fmla="*/ 335280 w 6746240"/>
              <a:gd name="connsiteY5" fmla="*/ 1188720 h 2306320"/>
              <a:gd name="connsiteX6" fmla="*/ 375920 w 6746240"/>
              <a:gd name="connsiteY6" fmla="*/ 1178560 h 2306320"/>
              <a:gd name="connsiteX7" fmla="*/ 426720 w 6746240"/>
              <a:gd name="connsiteY7" fmla="*/ 1188720 h 2306320"/>
              <a:gd name="connsiteX8" fmla="*/ 447040 w 6746240"/>
              <a:gd name="connsiteY8" fmla="*/ 1219200 h 2306320"/>
              <a:gd name="connsiteX9" fmla="*/ 538480 w 6746240"/>
              <a:gd name="connsiteY9" fmla="*/ 1198880 h 2306320"/>
              <a:gd name="connsiteX10" fmla="*/ 690880 w 6746240"/>
              <a:gd name="connsiteY10" fmla="*/ 1209040 h 2306320"/>
              <a:gd name="connsiteX11" fmla="*/ 701040 w 6746240"/>
              <a:gd name="connsiteY11" fmla="*/ 1239520 h 2306320"/>
              <a:gd name="connsiteX12" fmla="*/ 731520 w 6746240"/>
              <a:gd name="connsiteY12" fmla="*/ 1259840 h 2306320"/>
              <a:gd name="connsiteX13" fmla="*/ 853440 w 6746240"/>
              <a:gd name="connsiteY13" fmla="*/ 1280160 h 2306320"/>
              <a:gd name="connsiteX14" fmla="*/ 883920 w 6746240"/>
              <a:gd name="connsiteY14" fmla="*/ 1320800 h 2306320"/>
              <a:gd name="connsiteX15" fmla="*/ 894080 w 6746240"/>
              <a:gd name="connsiteY15" fmla="*/ 1351280 h 2306320"/>
              <a:gd name="connsiteX16" fmla="*/ 924560 w 6746240"/>
              <a:gd name="connsiteY16" fmla="*/ 1361440 h 2306320"/>
              <a:gd name="connsiteX17" fmla="*/ 1066800 w 6746240"/>
              <a:gd name="connsiteY17" fmla="*/ 1402080 h 2306320"/>
              <a:gd name="connsiteX18" fmla="*/ 1127760 w 6746240"/>
              <a:gd name="connsiteY18" fmla="*/ 1432560 h 2306320"/>
              <a:gd name="connsiteX19" fmla="*/ 1188720 w 6746240"/>
              <a:gd name="connsiteY19" fmla="*/ 1493520 h 2306320"/>
              <a:gd name="connsiteX20" fmla="*/ 1534160 w 6746240"/>
              <a:gd name="connsiteY20" fmla="*/ 1503680 h 2306320"/>
              <a:gd name="connsiteX21" fmla="*/ 1717040 w 6746240"/>
              <a:gd name="connsiteY21" fmla="*/ 1534160 h 2306320"/>
              <a:gd name="connsiteX22" fmla="*/ 1767840 w 6746240"/>
              <a:gd name="connsiteY22" fmla="*/ 1544320 h 2306320"/>
              <a:gd name="connsiteX23" fmla="*/ 1828800 w 6746240"/>
              <a:gd name="connsiteY23" fmla="*/ 1564640 h 2306320"/>
              <a:gd name="connsiteX24" fmla="*/ 1930400 w 6746240"/>
              <a:gd name="connsiteY24" fmla="*/ 1544320 h 2306320"/>
              <a:gd name="connsiteX25" fmla="*/ 1981200 w 6746240"/>
              <a:gd name="connsiteY25" fmla="*/ 1524000 h 2306320"/>
              <a:gd name="connsiteX26" fmla="*/ 2082800 w 6746240"/>
              <a:gd name="connsiteY26" fmla="*/ 1483360 h 2306320"/>
              <a:gd name="connsiteX27" fmla="*/ 2143760 w 6746240"/>
              <a:gd name="connsiteY27" fmla="*/ 1463040 h 2306320"/>
              <a:gd name="connsiteX28" fmla="*/ 2468880 w 6746240"/>
              <a:gd name="connsiteY28" fmla="*/ 1452880 h 2306320"/>
              <a:gd name="connsiteX29" fmla="*/ 2600960 w 6746240"/>
              <a:gd name="connsiteY29" fmla="*/ 1402080 h 2306320"/>
              <a:gd name="connsiteX30" fmla="*/ 2661920 w 6746240"/>
              <a:gd name="connsiteY30" fmla="*/ 1371600 h 2306320"/>
              <a:gd name="connsiteX31" fmla="*/ 2692400 w 6746240"/>
              <a:gd name="connsiteY31" fmla="*/ 1351280 h 2306320"/>
              <a:gd name="connsiteX32" fmla="*/ 2733040 w 6746240"/>
              <a:gd name="connsiteY32" fmla="*/ 1341120 h 2306320"/>
              <a:gd name="connsiteX33" fmla="*/ 2824480 w 6746240"/>
              <a:gd name="connsiteY33" fmla="*/ 1300480 h 2306320"/>
              <a:gd name="connsiteX34" fmla="*/ 2865120 w 6746240"/>
              <a:gd name="connsiteY34" fmla="*/ 1229360 h 2306320"/>
              <a:gd name="connsiteX35" fmla="*/ 2885440 w 6746240"/>
              <a:gd name="connsiteY35" fmla="*/ 1188720 h 2306320"/>
              <a:gd name="connsiteX36" fmla="*/ 2915920 w 6746240"/>
              <a:gd name="connsiteY36" fmla="*/ 1158240 h 2306320"/>
              <a:gd name="connsiteX37" fmla="*/ 3007360 w 6746240"/>
              <a:gd name="connsiteY37" fmla="*/ 1107440 h 2306320"/>
              <a:gd name="connsiteX38" fmla="*/ 3068320 w 6746240"/>
              <a:gd name="connsiteY38" fmla="*/ 1036320 h 2306320"/>
              <a:gd name="connsiteX39" fmla="*/ 3108960 w 6746240"/>
              <a:gd name="connsiteY39" fmla="*/ 995680 h 2306320"/>
              <a:gd name="connsiteX40" fmla="*/ 3139440 w 6746240"/>
              <a:gd name="connsiteY40" fmla="*/ 1005840 h 2306320"/>
              <a:gd name="connsiteX41" fmla="*/ 3159760 w 6746240"/>
              <a:gd name="connsiteY41" fmla="*/ 975360 h 2306320"/>
              <a:gd name="connsiteX42" fmla="*/ 3180080 w 6746240"/>
              <a:gd name="connsiteY42" fmla="*/ 904240 h 2306320"/>
              <a:gd name="connsiteX43" fmla="*/ 3200400 w 6746240"/>
              <a:gd name="connsiteY43" fmla="*/ 843280 h 2306320"/>
              <a:gd name="connsiteX44" fmla="*/ 3210560 w 6746240"/>
              <a:gd name="connsiteY44" fmla="*/ 802640 h 2306320"/>
              <a:gd name="connsiteX45" fmla="*/ 3241040 w 6746240"/>
              <a:gd name="connsiteY45" fmla="*/ 792480 h 2306320"/>
              <a:gd name="connsiteX46" fmla="*/ 3271520 w 6746240"/>
              <a:gd name="connsiteY46" fmla="*/ 772160 h 2306320"/>
              <a:gd name="connsiteX47" fmla="*/ 3383280 w 6746240"/>
              <a:gd name="connsiteY47" fmla="*/ 751840 h 2306320"/>
              <a:gd name="connsiteX48" fmla="*/ 3484880 w 6746240"/>
              <a:gd name="connsiteY48" fmla="*/ 680720 h 2306320"/>
              <a:gd name="connsiteX49" fmla="*/ 3515360 w 6746240"/>
              <a:gd name="connsiteY49" fmla="*/ 670560 h 2306320"/>
              <a:gd name="connsiteX50" fmla="*/ 3576320 w 6746240"/>
              <a:gd name="connsiteY50" fmla="*/ 629920 h 2306320"/>
              <a:gd name="connsiteX51" fmla="*/ 3586480 w 6746240"/>
              <a:gd name="connsiteY51" fmla="*/ 599440 h 2306320"/>
              <a:gd name="connsiteX52" fmla="*/ 3596640 w 6746240"/>
              <a:gd name="connsiteY52" fmla="*/ 558800 h 2306320"/>
              <a:gd name="connsiteX53" fmla="*/ 3627120 w 6746240"/>
              <a:gd name="connsiteY53" fmla="*/ 528320 h 2306320"/>
              <a:gd name="connsiteX54" fmla="*/ 3667760 w 6746240"/>
              <a:gd name="connsiteY54" fmla="*/ 467360 h 2306320"/>
              <a:gd name="connsiteX55" fmla="*/ 3708400 w 6746240"/>
              <a:gd name="connsiteY55" fmla="*/ 406400 h 2306320"/>
              <a:gd name="connsiteX56" fmla="*/ 3728720 w 6746240"/>
              <a:gd name="connsiteY56" fmla="*/ 375920 h 2306320"/>
              <a:gd name="connsiteX57" fmla="*/ 3759200 w 6746240"/>
              <a:gd name="connsiteY57" fmla="*/ 355600 h 2306320"/>
              <a:gd name="connsiteX58" fmla="*/ 3840480 w 6746240"/>
              <a:gd name="connsiteY58" fmla="*/ 274320 h 2306320"/>
              <a:gd name="connsiteX59" fmla="*/ 3870960 w 6746240"/>
              <a:gd name="connsiteY59" fmla="*/ 254000 h 2306320"/>
              <a:gd name="connsiteX60" fmla="*/ 3911600 w 6746240"/>
              <a:gd name="connsiteY60" fmla="*/ 223520 h 2306320"/>
              <a:gd name="connsiteX61" fmla="*/ 4003040 w 6746240"/>
              <a:gd name="connsiteY61" fmla="*/ 182880 h 2306320"/>
              <a:gd name="connsiteX62" fmla="*/ 4033520 w 6746240"/>
              <a:gd name="connsiteY62" fmla="*/ 152400 h 2306320"/>
              <a:gd name="connsiteX63" fmla="*/ 4114800 w 6746240"/>
              <a:gd name="connsiteY63" fmla="*/ 121920 h 2306320"/>
              <a:gd name="connsiteX64" fmla="*/ 4145280 w 6746240"/>
              <a:gd name="connsiteY64" fmla="*/ 142240 h 2306320"/>
              <a:gd name="connsiteX65" fmla="*/ 4185920 w 6746240"/>
              <a:gd name="connsiteY65" fmla="*/ 132080 h 2306320"/>
              <a:gd name="connsiteX66" fmla="*/ 4307840 w 6746240"/>
              <a:gd name="connsiteY66" fmla="*/ 121920 h 2306320"/>
              <a:gd name="connsiteX67" fmla="*/ 4378960 w 6746240"/>
              <a:gd name="connsiteY67" fmla="*/ 101600 h 2306320"/>
              <a:gd name="connsiteX68" fmla="*/ 4409440 w 6746240"/>
              <a:gd name="connsiteY68" fmla="*/ 91440 h 2306320"/>
              <a:gd name="connsiteX69" fmla="*/ 4541520 w 6746240"/>
              <a:gd name="connsiteY69" fmla="*/ 81280 h 2306320"/>
              <a:gd name="connsiteX70" fmla="*/ 4582160 w 6746240"/>
              <a:gd name="connsiteY70" fmla="*/ 71120 h 2306320"/>
              <a:gd name="connsiteX71" fmla="*/ 4592320 w 6746240"/>
              <a:gd name="connsiteY71" fmla="*/ 30480 h 2306320"/>
              <a:gd name="connsiteX72" fmla="*/ 4622800 w 6746240"/>
              <a:gd name="connsiteY72" fmla="*/ 0 h 2306320"/>
              <a:gd name="connsiteX73" fmla="*/ 4724400 w 6746240"/>
              <a:gd name="connsiteY73" fmla="*/ 30480 h 2306320"/>
              <a:gd name="connsiteX74" fmla="*/ 4744720 w 6746240"/>
              <a:gd name="connsiteY74" fmla="*/ 60960 h 2306320"/>
              <a:gd name="connsiteX75" fmla="*/ 4826000 w 6746240"/>
              <a:gd name="connsiteY75" fmla="*/ 81280 h 2306320"/>
              <a:gd name="connsiteX76" fmla="*/ 4968240 w 6746240"/>
              <a:gd name="connsiteY76" fmla="*/ 162560 h 2306320"/>
              <a:gd name="connsiteX77" fmla="*/ 5130800 w 6746240"/>
              <a:gd name="connsiteY77" fmla="*/ 254000 h 2306320"/>
              <a:gd name="connsiteX78" fmla="*/ 5242560 w 6746240"/>
              <a:gd name="connsiteY78" fmla="*/ 335280 h 2306320"/>
              <a:gd name="connsiteX79" fmla="*/ 5273040 w 6746240"/>
              <a:gd name="connsiteY79" fmla="*/ 365760 h 2306320"/>
              <a:gd name="connsiteX80" fmla="*/ 5323840 w 6746240"/>
              <a:gd name="connsiteY80" fmla="*/ 375920 h 2306320"/>
              <a:gd name="connsiteX81" fmla="*/ 5527040 w 6746240"/>
              <a:gd name="connsiteY81" fmla="*/ 396240 h 2306320"/>
              <a:gd name="connsiteX82" fmla="*/ 5547360 w 6746240"/>
              <a:gd name="connsiteY82" fmla="*/ 589280 h 2306320"/>
              <a:gd name="connsiteX83" fmla="*/ 5557520 w 6746240"/>
              <a:gd name="connsiteY83" fmla="*/ 629920 h 2306320"/>
              <a:gd name="connsiteX84" fmla="*/ 5567680 w 6746240"/>
              <a:gd name="connsiteY84" fmla="*/ 680720 h 2306320"/>
              <a:gd name="connsiteX85" fmla="*/ 5577840 w 6746240"/>
              <a:gd name="connsiteY85" fmla="*/ 741680 h 2306320"/>
              <a:gd name="connsiteX86" fmla="*/ 5588000 w 6746240"/>
              <a:gd name="connsiteY86" fmla="*/ 812800 h 2306320"/>
              <a:gd name="connsiteX87" fmla="*/ 5598160 w 6746240"/>
              <a:gd name="connsiteY87" fmla="*/ 853440 h 2306320"/>
              <a:gd name="connsiteX88" fmla="*/ 5608320 w 6746240"/>
              <a:gd name="connsiteY88" fmla="*/ 904240 h 2306320"/>
              <a:gd name="connsiteX89" fmla="*/ 5618480 w 6746240"/>
              <a:gd name="connsiteY89" fmla="*/ 944880 h 2306320"/>
              <a:gd name="connsiteX90" fmla="*/ 5659120 w 6746240"/>
              <a:gd name="connsiteY90" fmla="*/ 955040 h 2306320"/>
              <a:gd name="connsiteX91" fmla="*/ 5689600 w 6746240"/>
              <a:gd name="connsiteY91" fmla="*/ 1005840 h 2306320"/>
              <a:gd name="connsiteX92" fmla="*/ 5699760 w 6746240"/>
              <a:gd name="connsiteY92" fmla="*/ 1036320 h 2306320"/>
              <a:gd name="connsiteX93" fmla="*/ 5750560 w 6746240"/>
              <a:gd name="connsiteY93" fmla="*/ 1127760 h 2306320"/>
              <a:gd name="connsiteX94" fmla="*/ 5770880 w 6746240"/>
              <a:gd name="connsiteY94" fmla="*/ 1188720 h 2306320"/>
              <a:gd name="connsiteX95" fmla="*/ 5781040 w 6746240"/>
              <a:gd name="connsiteY95" fmla="*/ 1229360 h 2306320"/>
              <a:gd name="connsiteX96" fmla="*/ 5821680 w 6746240"/>
              <a:gd name="connsiteY96" fmla="*/ 1239520 h 2306320"/>
              <a:gd name="connsiteX97" fmla="*/ 5872480 w 6746240"/>
              <a:gd name="connsiteY97" fmla="*/ 1259840 h 2306320"/>
              <a:gd name="connsiteX98" fmla="*/ 5974080 w 6746240"/>
              <a:gd name="connsiteY98" fmla="*/ 1330960 h 2306320"/>
              <a:gd name="connsiteX99" fmla="*/ 6004560 w 6746240"/>
              <a:gd name="connsiteY99" fmla="*/ 1371600 h 2306320"/>
              <a:gd name="connsiteX100" fmla="*/ 6065520 w 6746240"/>
              <a:gd name="connsiteY100" fmla="*/ 1442720 h 2306320"/>
              <a:gd name="connsiteX101" fmla="*/ 6085840 w 6746240"/>
              <a:gd name="connsiteY101" fmla="*/ 1483360 h 2306320"/>
              <a:gd name="connsiteX102" fmla="*/ 6126480 w 6746240"/>
              <a:gd name="connsiteY102" fmla="*/ 1544320 h 2306320"/>
              <a:gd name="connsiteX103" fmla="*/ 6177280 w 6746240"/>
              <a:gd name="connsiteY103" fmla="*/ 1564640 h 2306320"/>
              <a:gd name="connsiteX104" fmla="*/ 6268720 w 6746240"/>
              <a:gd name="connsiteY104" fmla="*/ 1666240 h 2306320"/>
              <a:gd name="connsiteX105" fmla="*/ 6278880 w 6746240"/>
              <a:gd name="connsiteY105" fmla="*/ 1717040 h 2306320"/>
              <a:gd name="connsiteX106" fmla="*/ 6319520 w 6746240"/>
              <a:gd name="connsiteY106" fmla="*/ 1737360 h 2306320"/>
              <a:gd name="connsiteX107" fmla="*/ 6350000 w 6746240"/>
              <a:gd name="connsiteY107" fmla="*/ 1757680 h 2306320"/>
              <a:gd name="connsiteX108" fmla="*/ 6370320 w 6746240"/>
              <a:gd name="connsiteY108" fmla="*/ 1798320 h 2306320"/>
              <a:gd name="connsiteX109" fmla="*/ 6390640 w 6746240"/>
              <a:gd name="connsiteY109" fmla="*/ 1859280 h 2306320"/>
              <a:gd name="connsiteX110" fmla="*/ 6421120 w 6746240"/>
              <a:gd name="connsiteY110" fmla="*/ 1971040 h 2306320"/>
              <a:gd name="connsiteX111" fmla="*/ 6431280 w 6746240"/>
              <a:gd name="connsiteY111" fmla="*/ 2001520 h 2306320"/>
              <a:gd name="connsiteX112" fmla="*/ 6461760 w 6746240"/>
              <a:gd name="connsiteY112" fmla="*/ 2011680 h 2306320"/>
              <a:gd name="connsiteX113" fmla="*/ 6471920 w 6746240"/>
              <a:gd name="connsiteY113" fmla="*/ 2042160 h 2306320"/>
              <a:gd name="connsiteX114" fmla="*/ 6563360 w 6746240"/>
              <a:gd name="connsiteY114" fmla="*/ 2082800 h 2306320"/>
              <a:gd name="connsiteX115" fmla="*/ 6614160 w 6746240"/>
              <a:gd name="connsiteY115" fmla="*/ 2113280 h 2306320"/>
              <a:gd name="connsiteX116" fmla="*/ 6644640 w 6746240"/>
              <a:gd name="connsiteY116" fmla="*/ 2164080 h 2306320"/>
              <a:gd name="connsiteX117" fmla="*/ 6675120 w 6746240"/>
              <a:gd name="connsiteY117" fmla="*/ 2194560 h 2306320"/>
              <a:gd name="connsiteX118" fmla="*/ 6695440 w 6746240"/>
              <a:gd name="connsiteY118" fmla="*/ 2235200 h 2306320"/>
              <a:gd name="connsiteX119" fmla="*/ 6746240 w 6746240"/>
              <a:gd name="connsiteY119" fmla="*/ 2306320 h 230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746240" h="2306320">
                <a:moveTo>
                  <a:pt x="0" y="1280160"/>
                </a:moveTo>
                <a:cubicBezTo>
                  <a:pt x="30529" y="1275799"/>
                  <a:pt x="89236" y="1268754"/>
                  <a:pt x="121920" y="1259840"/>
                </a:cubicBezTo>
                <a:cubicBezTo>
                  <a:pt x="142584" y="1254204"/>
                  <a:pt x="162560" y="1246293"/>
                  <a:pt x="182880" y="1239520"/>
                </a:cubicBezTo>
                <a:lnTo>
                  <a:pt x="274320" y="1209040"/>
                </a:lnTo>
                <a:lnTo>
                  <a:pt x="304800" y="1198880"/>
                </a:lnTo>
                <a:cubicBezTo>
                  <a:pt x="314960" y="1195493"/>
                  <a:pt x="324890" y="1191317"/>
                  <a:pt x="335280" y="1188720"/>
                </a:cubicBezTo>
                <a:lnTo>
                  <a:pt x="375920" y="1178560"/>
                </a:lnTo>
                <a:cubicBezTo>
                  <a:pt x="392853" y="1181947"/>
                  <a:pt x="411727" y="1180152"/>
                  <a:pt x="426720" y="1188720"/>
                </a:cubicBezTo>
                <a:cubicBezTo>
                  <a:pt x="437322" y="1194778"/>
                  <a:pt x="435194" y="1216238"/>
                  <a:pt x="447040" y="1219200"/>
                </a:cubicBezTo>
                <a:cubicBezTo>
                  <a:pt x="467475" y="1224309"/>
                  <a:pt x="515016" y="1206701"/>
                  <a:pt x="538480" y="1198880"/>
                </a:cubicBezTo>
                <a:cubicBezTo>
                  <a:pt x="589280" y="1202267"/>
                  <a:pt x="641487" y="1196692"/>
                  <a:pt x="690880" y="1209040"/>
                </a:cubicBezTo>
                <a:cubicBezTo>
                  <a:pt x="701270" y="1211637"/>
                  <a:pt x="694350" y="1231157"/>
                  <a:pt x="701040" y="1239520"/>
                </a:cubicBezTo>
                <a:cubicBezTo>
                  <a:pt x="708668" y="1249055"/>
                  <a:pt x="720598" y="1254379"/>
                  <a:pt x="731520" y="1259840"/>
                </a:cubicBezTo>
                <a:cubicBezTo>
                  <a:pt x="765562" y="1276861"/>
                  <a:pt x="824467" y="1276941"/>
                  <a:pt x="853440" y="1280160"/>
                </a:cubicBezTo>
                <a:cubicBezTo>
                  <a:pt x="863600" y="1293707"/>
                  <a:pt x="875519" y="1306098"/>
                  <a:pt x="883920" y="1320800"/>
                </a:cubicBezTo>
                <a:cubicBezTo>
                  <a:pt x="889233" y="1330099"/>
                  <a:pt x="886507" y="1343707"/>
                  <a:pt x="894080" y="1351280"/>
                </a:cubicBezTo>
                <a:cubicBezTo>
                  <a:pt x="901653" y="1358853"/>
                  <a:pt x="914400" y="1358053"/>
                  <a:pt x="924560" y="1361440"/>
                </a:cubicBezTo>
                <a:cubicBezTo>
                  <a:pt x="949263" y="1435548"/>
                  <a:pt x="921655" y="1383937"/>
                  <a:pt x="1066800" y="1402080"/>
                </a:cubicBezTo>
                <a:cubicBezTo>
                  <a:pt x="1085688" y="1404441"/>
                  <a:pt x="1114794" y="1419594"/>
                  <a:pt x="1127760" y="1432560"/>
                </a:cubicBezTo>
                <a:cubicBezTo>
                  <a:pt x="1139894" y="1444694"/>
                  <a:pt x="1162663" y="1491407"/>
                  <a:pt x="1188720" y="1493520"/>
                </a:cubicBezTo>
                <a:cubicBezTo>
                  <a:pt x="1303540" y="1502830"/>
                  <a:pt x="1419013" y="1500293"/>
                  <a:pt x="1534160" y="1503680"/>
                </a:cubicBezTo>
                <a:cubicBezTo>
                  <a:pt x="1633808" y="1536896"/>
                  <a:pt x="1573775" y="1522221"/>
                  <a:pt x="1717040" y="1534160"/>
                </a:cubicBezTo>
                <a:cubicBezTo>
                  <a:pt x="1733973" y="1537547"/>
                  <a:pt x="1751180" y="1539776"/>
                  <a:pt x="1767840" y="1544320"/>
                </a:cubicBezTo>
                <a:cubicBezTo>
                  <a:pt x="1788504" y="1549956"/>
                  <a:pt x="1828800" y="1564640"/>
                  <a:pt x="1828800" y="1564640"/>
                </a:cubicBezTo>
                <a:cubicBezTo>
                  <a:pt x="1858814" y="1559638"/>
                  <a:pt x="1900087" y="1554424"/>
                  <a:pt x="1930400" y="1544320"/>
                </a:cubicBezTo>
                <a:cubicBezTo>
                  <a:pt x="1947702" y="1538553"/>
                  <a:pt x="1965257" y="1532857"/>
                  <a:pt x="1981200" y="1524000"/>
                </a:cubicBezTo>
                <a:cubicBezTo>
                  <a:pt x="2092080" y="1462400"/>
                  <a:pt x="1939736" y="1519126"/>
                  <a:pt x="2082800" y="1483360"/>
                </a:cubicBezTo>
                <a:cubicBezTo>
                  <a:pt x="2103580" y="1478165"/>
                  <a:pt x="2122351" y="1463709"/>
                  <a:pt x="2143760" y="1463040"/>
                </a:cubicBezTo>
                <a:lnTo>
                  <a:pt x="2468880" y="1452880"/>
                </a:lnTo>
                <a:cubicBezTo>
                  <a:pt x="2549765" y="1398956"/>
                  <a:pt x="2505664" y="1415694"/>
                  <a:pt x="2600960" y="1402080"/>
                </a:cubicBezTo>
                <a:cubicBezTo>
                  <a:pt x="2688311" y="1343846"/>
                  <a:pt x="2577792" y="1413664"/>
                  <a:pt x="2661920" y="1371600"/>
                </a:cubicBezTo>
                <a:cubicBezTo>
                  <a:pt x="2672842" y="1366139"/>
                  <a:pt x="2681177" y="1356090"/>
                  <a:pt x="2692400" y="1351280"/>
                </a:cubicBezTo>
                <a:cubicBezTo>
                  <a:pt x="2705235" y="1345779"/>
                  <a:pt x="2719665" y="1345132"/>
                  <a:pt x="2733040" y="1341120"/>
                </a:cubicBezTo>
                <a:cubicBezTo>
                  <a:pt x="2798989" y="1321335"/>
                  <a:pt x="2779938" y="1330175"/>
                  <a:pt x="2824480" y="1300480"/>
                </a:cubicBezTo>
                <a:cubicBezTo>
                  <a:pt x="2885885" y="1177670"/>
                  <a:pt x="2807677" y="1329885"/>
                  <a:pt x="2865120" y="1229360"/>
                </a:cubicBezTo>
                <a:cubicBezTo>
                  <a:pt x="2872634" y="1216210"/>
                  <a:pt x="2876637" y="1201045"/>
                  <a:pt x="2885440" y="1188720"/>
                </a:cubicBezTo>
                <a:cubicBezTo>
                  <a:pt x="2893791" y="1177028"/>
                  <a:pt x="2904578" y="1167061"/>
                  <a:pt x="2915920" y="1158240"/>
                </a:cubicBezTo>
                <a:cubicBezTo>
                  <a:pt x="2968323" y="1117482"/>
                  <a:pt x="2961372" y="1122769"/>
                  <a:pt x="3007360" y="1107440"/>
                </a:cubicBezTo>
                <a:cubicBezTo>
                  <a:pt x="3094051" y="1020749"/>
                  <a:pt x="2977084" y="1140589"/>
                  <a:pt x="3068320" y="1036320"/>
                </a:cubicBezTo>
                <a:cubicBezTo>
                  <a:pt x="3080936" y="1021902"/>
                  <a:pt x="3095413" y="1009227"/>
                  <a:pt x="3108960" y="995680"/>
                </a:cubicBezTo>
                <a:cubicBezTo>
                  <a:pt x="3119120" y="999067"/>
                  <a:pt x="3129496" y="1009817"/>
                  <a:pt x="3139440" y="1005840"/>
                </a:cubicBezTo>
                <a:cubicBezTo>
                  <a:pt x="3150777" y="1001305"/>
                  <a:pt x="3154299" y="986282"/>
                  <a:pt x="3159760" y="975360"/>
                </a:cubicBezTo>
                <a:cubicBezTo>
                  <a:pt x="3168296" y="958288"/>
                  <a:pt x="3175197" y="920516"/>
                  <a:pt x="3180080" y="904240"/>
                </a:cubicBezTo>
                <a:cubicBezTo>
                  <a:pt x="3186235" y="883724"/>
                  <a:pt x="3195205" y="864060"/>
                  <a:pt x="3200400" y="843280"/>
                </a:cubicBezTo>
                <a:cubicBezTo>
                  <a:pt x="3203787" y="829733"/>
                  <a:pt x="3201837" y="813544"/>
                  <a:pt x="3210560" y="802640"/>
                </a:cubicBezTo>
                <a:cubicBezTo>
                  <a:pt x="3217250" y="794277"/>
                  <a:pt x="3231461" y="797269"/>
                  <a:pt x="3241040" y="792480"/>
                </a:cubicBezTo>
                <a:cubicBezTo>
                  <a:pt x="3251962" y="787019"/>
                  <a:pt x="3260598" y="777621"/>
                  <a:pt x="3271520" y="772160"/>
                </a:cubicBezTo>
                <a:cubicBezTo>
                  <a:pt x="3302844" y="756498"/>
                  <a:pt x="3355262" y="755342"/>
                  <a:pt x="3383280" y="751840"/>
                </a:cubicBezTo>
                <a:cubicBezTo>
                  <a:pt x="3401827" y="737929"/>
                  <a:pt x="3469870" y="685723"/>
                  <a:pt x="3484880" y="680720"/>
                </a:cubicBezTo>
                <a:cubicBezTo>
                  <a:pt x="3495040" y="677333"/>
                  <a:pt x="3505998" y="675761"/>
                  <a:pt x="3515360" y="670560"/>
                </a:cubicBezTo>
                <a:cubicBezTo>
                  <a:pt x="3536708" y="658700"/>
                  <a:pt x="3576320" y="629920"/>
                  <a:pt x="3576320" y="629920"/>
                </a:cubicBezTo>
                <a:cubicBezTo>
                  <a:pt x="3579707" y="619760"/>
                  <a:pt x="3583538" y="609738"/>
                  <a:pt x="3586480" y="599440"/>
                </a:cubicBezTo>
                <a:cubicBezTo>
                  <a:pt x="3590316" y="586014"/>
                  <a:pt x="3589712" y="570924"/>
                  <a:pt x="3596640" y="558800"/>
                </a:cubicBezTo>
                <a:cubicBezTo>
                  <a:pt x="3603769" y="546325"/>
                  <a:pt x="3618299" y="539662"/>
                  <a:pt x="3627120" y="528320"/>
                </a:cubicBezTo>
                <a:cubicBezTo>
                  <a:pt x="3642113" y="509043"/>
                  <a:pt x="3654213" y="487680"/>
                  <a:pt x="3667760" y="467360"/>
                </a:cubicBezTo>
                <a:lnTo>
                  <a:pt x="3708400" y="406400"/>
                </a:lnTo>
                <a:cubicBezTo>
                  <a:pt x="3715173" y="396240"/>
                  <a:pt x="3718560" y="382693"/>
                  <a:pt x="3728720" y="375920"/>
                </a:cubicBezTo>
                <a:cubicBezTo>
                  <a:pt x="3738880" y="369147"/>
                  <a:pt x="3750165" y="363814"/>
                  <a:pt x="3759200" y="355600"/>
                </a:cubicBezTo>
                <a:cubicBezTo>
                  <a:pt x="3787551" y="329826"/>
                  <a:pt x="3808599" y="295574"/>
                  <a:pt x="3840480" y="274320"/>
                </a:cubicBezTo>
                <a:cubicBezTo>
                  <a:pt x="3850640" y="267547"/>
                  <a:pt x="3861024" y="261097"/>
                  <a:pt x="3870960" y="254000"/>
                </a:cubicBezTo>
                <a:cubicBezTo>
                  <a:pt x="3884739" y="244158"/>
                  <a:pt x="3897241" y="232495"/>
                  <a:pt x="3911600" y="223520"/>
                </a:cubicBezTo>
                <a:cubicBezTo>
                  <a:pt x="3936912" y="207700"/>
                  <a:pt x="3976277" y="193585"/>
                  <a:pt x="4003040" y="182880"/>
                </a:cubicBezTo>
                <a:cubicBezTo>
                  <a:pt x="4013200" y="172720"/>
                  <a:pt x="4021336" y="160015"/>
                  <a:pt x="4033520" y="152400"/>
                </a:cubicBezTo>
                <a:cubicBezTo>
                  <a:pt x="4047404" y="143722"/>
                  <a:pt x="4094535" y="128675"/>
                  <a:pt x="4114800" y="121920"/>
                </a:cubicBezTo>
                <a:cubicBezTo>
                  <a:pt x="4124960" y="128693"/>
                  <a:pt x="4133192" y="140513"/>
                  <a:pt x="4145280" y="142240"/>
                </a:cubicBezTo>
                <a:cubicBezTo>
                  <a:pt x="4159103" y="144215"/>
                  <a:pt x="4172064" y="133812"/>
                  <a:pt x="4185920" y="132080"/>
                </a:cubicBezTo>
                <a:cubicBezTo>
                  <a:pt x="4226386" y="127022"/>
                  <a:pt x="4267200" y="125307"/>
                  <a:pt x="4307840" y="121920"/>
                </a:cubicBezTo>
                <a:cubicBezTo>
                  <a:pt x="4380921" y="97560"/>
                  <a:pt x="4289658" y="127115"/>
                  <a:pt x="4378960" y="101600"/>
                </a:cubicBezTo>
                <a:cubicBezTo>
                  <a:pt x="4389258" y="98658"/>
                  <a:pt x="4398813" y="92768"/>
                  <a:pt x="4409440" y="91440"/>
                </a:cubicBezTo>
                <a:cubicBezTo>
                  <a:pt x="4453256" y="85963"/>
                  <a:pt x="4497493" y="84667"/>
                  <a:pt x="4541520" y="81280"/>
                </a:cubicBezTo>
                <a:cubicBezTo>
                  <a:pt x="4555067" y="77893"/>
                  <a:pt x="4572286" y="80994"/>
                  <a:pt x="4582160" y="71120"/>
                </a:cubicBezTo>
                <a:cubicBezTo>
                  <a:pt x="4592034" y="61246"/>
                  <a:pt x="4585392" y="42604"/>
                  <a:pt x="4592320" y="30480"/>
                </a:cubicBezTo>
                <a:cubicBezTo>
                  <a:pt x="4599449" y="18005"/>
                  <a:pt x="4612640" y="10160"/>
                  <a:pt x="4622800" y="0"/>
                </a:cubicBezTo>
                <a:cubicBezTo>
                  <a:pt x="4667565" y="6395"/>
                  <a:pt x="4693597" y="-323"/>
                  <a:pt x="4724400" y="30480"/>
                </a:cubicBezTo>
                <a:cubicBezTo>
                  <a:pt x="4733034" y="39114"/>
                  <a:pt x="4733798" y="55499"/>
                  <a:pt x="4744720" y="60960"/>
                </a:cubicBezTo>
                <a:cubicBezTo>
                  <a:pt x="4769699" y="73449"/>
                  <a:pt x="4826000" y="81280"/>
                  <a:pt x="4826000" y="81280"/>
                </a:cubicBezTo>
                <a:cubicBezTo>
                  <a:pt x="4914335" y="147531"/>
                  <a:pt x="4812579" y="75001"/>
                  <a:pt x="4968240" y="162560"/>
                </a:cubicBezTo>
                <a:cubicBezTo>
                  <a:pt x="5022427" y="193040"/>
                  <a:pt x="5079071" y="219514"/>
                  <a:pt x="5130800" y="254000"/>
                </a:cubicBezTo>
                <a:cubicBezTo>
                  <a:pt x="5181476" y="287784"/>
                  <a:pt x="5197843" y="296153"/>
                  <a:pt x="5242560" y="335280"/>
                </a:cubicBezTo>
                <a:cubicBezTo>
                  <a:pt x="5253373" y="344742"/>
                  <a:pt x="5260189" y="359334"/>
                  <a:pt x="5273040" y="365760"/>
                </a:cubicBezTo>
                <a:cubicBezTo>
                  <a:pt x="5288486" y="373483"/>
                  <a:pt x="5306694" y="373863"/>
                  <a:pt x="5323840" y="375920"/>
                </a:cubicBezTo>
                <a:cubicBezTo>
                  <a:pt x="5391426" y="384030"/>
                  <a:pt x="5459307" y="389467"/>
                  <a:pt x="5527040" y="396240"/>
                </a:cubicBezTo>
                <a:cubicBezTo>
                  <a:pt x="5556200" y="483719"/>
                  <a:pt x="5527251" y="388188"/>
                  <a:pt x="5547360" y="589280"/>
                </a:cubicBezTo>
                <a:cubicBezTo>
                  <a:pt x="5548749" y="603174"/>
                  <a:pt x="5554491" y="616289"/>
                  <a:pt x="5557520" y="629920"/>
                </a:cubicBezTo>
                <a:cubicBezTo>
                  <a:pt x="5561266" y="646777"/>
                  <a:pt x="5564591" y="663730"/>
                  <a:pt x="5567680" y="680720"/>
                </a:cubicBezTo>
                <a:cubicBezTo>
                  <a:pt x="5571365" y="700988"/>
                  <a:pt x="5574708" y="721319"/>
                  <a:pt x="5577840" y="741680"/>
                </a:cubicBezTo>
                <a:cubicBezTo>
                  <a:pt x="5581481" y="765349"/>
                  <a:pt x="5583716" y="789239"/>
                  <a:pt x="5588000" y="812800"/>
                </a:cubicBezTo>
                <a:cubicBezTo>
                  <a:pt x="5590498" y="826538"/>
                  <a:pt x="5595131" y="839809"/>
                  <a:pt x="5598160" y="853440"/>
                </a:cubicBezTo>
                <a:cubicBezTo>
                  <a:pt x="5601906" y="870297"/>
                  <a:pt x="5604574" y="887383"/>
                  <a:pt x="5608320" y="904240"/>
                </a:cubicBezTo>
                <a:cubicBezTo>
                  <a:pt x="5611349" y="917871"/>
                  <a:pt x="5608606" y="935006"/>
                  <a:pt x="5618480" y="944880"/>
                </a:cubicBezTo>
                <a:cubicBezTo>
                  <a:pt x="5628354" y="954754"/>
                  <a:pt x="5645573" y="951653"/>
                  <a:pt x="5659120" y="955040"/>
                </a:cubicBezTo>
                <a:cubicBezTo>
                  <a:pt x="5669280" y="971973"/>
                  <a:pt x="5680769" y="988177"/>
                  <a:pt x="5689600" y="1005840"/>
                </a:cubicBezTo>
                <a:cubicBezTo>
                  <a:pt x="5694389" y="1015419"/>
                  <a:pt x="5694971" y="1026741"/>
                  <a:pt x="5699760" y="1036320"/>
                </a:cubicBezTo>
                <a:cubicBezTo>
                  <a:pt x="5725539" y="1087877"/>
                  <a:pt x="5730991" y="1078837"/>
                  <a:pt x="5750560" y="1127760"/>
                </a:cubicBezTo>
                <a:cubicBezTo>
                  <a:pt x="5758515" y="1147647"/>
                  <a:pt x="5765685" y="1167940"/>
                  <a:pt x="5770880" y="1188720"/>
                </a:cubicBezTo>
                <a:cubicBezTo>
                  <a:pt x="5774267" y="1202267"/>
                  <a:pt x="5771166" y="1219486"/>
                  <a:pt x="5781040" y="1229360"/>
                </a:cubicBezTo>
                <a:cubicBezTo>
                  <a:pt x="5790914" y="1239234"/>
                  <a:pt x="5808433" y="1235104"/>
                  <a:pt x="5821680" y="1239520"/>
                </a:cubicBezTo>
                <a:cubicBezTo>
                  <a:pt x="5838982" y="1245287"/>
                  <a:pt x="5855877" y="1252293"/>
                  <a:pt x="5872480" y="1259840"/>
                </a:cubicBezTo>
                <a:cubicBezTo>
                  <a:pt x="5931462" y="1286650"/>
                  <a:pt x="5933493" y="1284575"/>
                  <a:pt x="5974080" y="1330960"/>
                </a:cubicBezTo>
                <a:cubicBezTo>
                  <a:pt x="5985231" y="1343704"/>
                  <a:pt x="5993540" y="1358743"/>
                  <a:pt x="6004560" y="1371600"/>
                </a:cubicBezTo>
                <a:cubicBezTo>
                  <a:pt x="6042925" y="1416359"/>
                  <a:pt x="6031238" y="1387869"/>
                  <a:pt x="6065520" y="1442720"/>
                </a:cubicBezTo>
                <a:cubicBezTo>
                  <a:pt x="6073547" y="1455563"/>
                  <a:pt x="6079874" y="1469439"/>
                  <a:pt x="6085840" y="1483360"/>
                </a:cubicBezTo>
                <a:cubicBezTo>
                  <a:pt x="6100056" y="1516530"/>
                  <a:pt x="6089082" y="1520946"/>
                  <a:pt x="6126480" y="1544320"/>
                </a:cubicBezTo>
                <a:cubicBezTo>
                  <a:pt x="6141946" y="1553986"/>
                  <a:pt x="6160347" y="1557867"/>
                  <a:pt x="6177280" y="1564640"/>
                </a:cubicBezTo>
                <a:cubicBezTo>
                  <a:pt x="6245566" y="1655689"/>
                  <a:pt x="6210061" y="1627134"/>
                  <a:pt x="6268720" y="1666240"/>
                </a:cubicBezTo>
                <a:cubicBezTo>
                  <a:pt x="6272107" y="1683173"/>
                  <a:pt x="6268843" y="1702988"/>
                  <a:pt x="6278880" y="1717040"/>
                </a:cubicBezTo>
                <a:cubicBezTo>
                  <a:pt x="6287683" y="1729365"/>
                  <a:pt x="6306370" y="1729846"/>
                  <a:pt x="6319520" y="1737360"/>
                </a:cubicBezTo>
                <a:cubicBezTo>
                  <a:pt x="6330122" y="1743418"/>
                  <a:pt x="6339840" y="1750907"/>
                  <a:pt x="6350000" y="1757680"/>
                </a:cubicBezTo>
                <a:cubicBezTo>
                  <a:pt x="6356773" y="1771227"/>
                  <a:pt x="6364695" y="1784258"/>
                  <a:pt x="6370320" y="1798320"/>
                </a:cubicBezTo>
                <a:cubicBezTo>
                  <a:pt x="6378275" y="1818207"/>
                  <a:pt x="6390640" y="1859280"/>
                  <a:pt x="6390640" y="1859280"/>
                </a:cubicBezTo>
                <a:cubicBezTo>
                  <a:pt x="6408923" y="2005546"/>
                  <a:pt x="6382699" y="1894198"/>
                  <a:pt x="6421120" y="1971040"/>
                </a:cubicBezTo>
                <a:cubicBezTo>
                  <a:pt x="6425909" y="1980619"/>
                  <a:pt x="6423707" y="1993947"/>
                  <a:pt x="6431280" y="2001520"/>
                </a:cubicBezTo>
                <a:cubicBezTo>
                  <a:pt x="6438853" y="2009093"/>
                  <a:pt x="6451600" y="2008293"/>
                  <a:pt x="6461760" y="2011680"/>
                </a:cubicBezTo>
                <a:cubicBezTo>
                  <a:pt x="6465147" y="2021840"/>
                  <a:pt x="6465230" y="2033797"/>
                  <a:pt x="6471920" y="2042160"/>
                </a:cubicBezTo>
                <a:cubicBezTo>
                  <a:pt x="6493841" y="2069561"/>
                  <a:pt x="6537091" y="2067039"/>
                  <a:pt x="6563360" y="2082800"/>
                </a:cubicBezTo>
                <a:lnTo>
                  <a:pt x="6614160" y="2113280"/>
                </a:lnTo>
                <a:cubicBezTo>
                  <a:pt x="6624320" y="2130213"/>
                  <a:pt x="6632792" y="2148282"/>
                  <a:pt x="6644640" y="2164080"/>
                </a:cubicBezTo>
                <a:cubicBezTo>
                  <a:pt x="6653261" y="2175575"/>
                  <a:pt x="6666769" y="2182868"/>
                  <a:pt x="6675120" y="2194560"/>
                </a:cubicBezTo>
                <a:cubicBezTo>
                  <a:pt x="6683923" y="2206885"/>
                  <a:pt x="6687648" y="2222213"/>
                  <a:pt x="6695440" y="2235200"/>
                </a:cubicBezTo>
                <a:cubicBezTo>
                  <a:pt x="6727913" y="2289321"/>
                  <a:pt x="6720934" y="2281014"/>
                  <a:pt x="6746240" y="230632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2"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Decision Boundary Perspective…</a:t>
            </a:r>
          </a:p>
        </p:txBody>
      </p:sp>
      <p:pic>
        <p:nvPicPr>
          <p:cNvPr id="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57769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27729"/>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What Is Deep Learning?</a:t>
            </a:r>
          </a:p>
          <a:p>
            <a:pPr algn="just"/>
            <a:endParaRPr lang="en-US" sz="4400" b="1" dirty="0"/>
          </a:p>
          <a:p>
            <a:pPr algn="just"/>
            <a:endParaRPr lang="en-US" sz="4400" b="1" dirty="0"/>
          </a:p>
          <a:p>
            <a:pPr algn="just"/>
            <a:endParaRPr lang="en-US" sz="4400" b="1" dirty="0"/>
          </a:p>
          <a:p>
            <a:pPr algn="just"/>
            <a:endParaRPr lang="en-US" sz="4400" b="1" dirty="0"/>
          </a:p>
        </p:txBody>
      </p:sp>
      <p:sp>
        <p:nvSpPr>
          <p:cNvPr id="8" name="Text Placeholder 22"/>
          <p:cNvSpPr txBox="1">
            <a:spLocks/>
          </p:cNvSpPr>
          <p:nvPr/>
        </p:nvSpPr>
        <p:spPr>
          <a:xfrm>
            <a:off x="312185" y="1296020"/>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00100" lvl="1" indent="-457200" algn="just">
              <a:buFont typeface="+mj-lt"/>
              <a:buAutoNum type="arabicPeriod"/>
            </a:pPr>
            <a:r>
              <a:rPr lang="en-US" sz="2500" dirty="0">
                <a:solidFill>
                  <a:schemeClr val="tx1">
                    <a:lumMod val="75000"/>
                    <a:lumOff val="25000"/>
                  </a:schemeClr>
                </a:solidFill>
                <a:latin typeface="+mj-lt"/>
              </a:rPr>
              <a:t>Based on Algorithms that attempt to model high level abstractions in data</a:t>
            </a:r>
          </a:p>
          <a:p>
            <a:pPr marL="800100" lvl="1" indent="-457200" algn="just">
              <a:buFont typeface="+mj-lt"/>
              <a:buAutoNum type="arabicPeriod"/>
            </a:pPr>
            <a:r>
              <a:rPr lang="en-US" sz="2500" dirty="0">
                <a:solidFill>
                  <a:schemeClr val="tx1">
                    <a:lumMod val="75000"/>
                    <a:lumOff val="25000"/>
                  </a:schemeClr>
                </a:solidFill>
                <a:latin typeface="+mj-lt"/>
              </a:rPr>
              <a:t>Deep learning is synonymous with artificial neural network (ANN)</a:t>
            </a:r>
          </a:p>
          <a:p>
            <a:pPr marL="800100" lvl="1" indent="-457200" algn="just">
              <a:buFont typeface="+mj-lt"/>
              <a:buAutoNum type="arabicPeriod"/>
            </a:pPr>
            <a:r>
              <a:rPr lang="en-US" sz="2500" dirty="0">
                <a:solidFill>
                  <a:schemeClr val="tx1">
                    <a:lumMod val="75000"/>
                    <a:lumOff val="25000"/>
                  </a:schemeClr>
                </a:solidFill>
                <a:latin typeface="+mj-lt"/>
              </a:rPr>
              <a:t>“deep” -&gt; depth of the network</a:t>
            </a:r>
          </a:p>
        </p:txBody>
      </p:sp>
      <p:pic>
        <p:nvPicPr>
          <p:cNvPr id="1229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3013"/>
          <a:stretch/>
        </p:blipFill>
        <p:spPr bwMode="auto">
          <a:xfrm>
            <a:off x="773658" y="2801592"/>
            <a:ext cx="4923410" cy="3865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3"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6459" r="2243"/>
          <a:stretch/>
        </p:blipFill>
        <p:spPr bwMode="auto">
          <a:xfrm>
            <a:off x="6019204" y="3141006"/>
            <a:ext cx="5742779" cy="35257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84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6312147" y="494797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 name="Oval 5"/>
          <p:cNvSpPr/>
          <p:nvPr/>
        </p:nvSpPr>
        <p:spPr>
          <a:xfrm>
            <a:off x="4446940" y="2797810"/>
            <a:ext cx="320582" cy="414490"/>
          </a:xfrm>
          <a:prstGeom prst="ellipse">
            <a:avLst/>
          </a:prstGeom>
          <a:solidFill>
            <a:srgbClr val="FFC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Oval 6"/>
          <p:cNvSpPr/>
          <p:nvPr/>
        </p:nvSpPr>
        <p:spPr>
          <a:xfrm>
            <a:off x="4285030" y="3534502"/>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 name="Oval 7"/>
          <p:cNvSpPr/>
          <p:nvPr/>
        </p:nvSpPr>
        <p:spPr>
          <a:xfrm>
            <a:off x="4757808" y="3108677"/>
            <a:ext cx="320582" cy="414490"/>
          </a:xfrm>
          <a:prstGeom prst="ellipse">
            <a:avLst/>
          </a:prstGeom>
          <a:solidFill>
            <a:srgbClr val="FFC00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9" name="Oval 8"/>
          <p:cNvSpPr/>
          <p:nvPr/>
        </p:nvSpPr>
        <p:spPr>
          <a:xfrm>
            <a:off x="4607232" y="3989469"/>
            <a:ext cx="32058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Oval 9"/>
          <p:cNvSpPr/>
          <p:nvPr/>
        </p:nvSpPr>
        <p:spPr>
          <a:xfrm>
            <a:off x="5068676" y="3419545"/>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 name="Oval 10"/>
          <p:cNvSpPr/>
          <p:nvPr/>
        </p:nvSpPr>
        <p:spPr>
          <a:xfrm>
            <a:off x="4072926" y="419833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 name="Oval 11"/>
          <p:cNvSpPr/>
          <p:nvPr/>
        </p:nvSpPr>
        <p:spPr>
          <a:xfrm>
            <a:off x="3554813" y="3327257"/>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3" name="Oval 12"/>
          <p:cNvSpPr/>
          <p:nvPr/>
        </p:nvSpPr>
        <p:spPr>
          <a:xfrm>
            <a:off x="5342303" y="2456179"/>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 name="Oval 13"/>
          <p:cNvSpPr/>
          <p:nvPr/>
        </p:nvSpPr>
        <p:spPr>
          <a:xfrm>
            <a:off x="3477096" y="4582061"/>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 name="Oval 14"/>
          <p:cNvSpPr/>
          <p:nvPr/>
        </p:nvSpPr>
        <p:spPr>
          <a:xfrm>
            <a:off x="3389666" y="3970040"/>
            <a:ext cx="320582" cy="41611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 name="Oval 15"/>
          <p:cNvSpPr/>
          <p:nvPr/>
        </p:nvSpPr>
        <p:spPr>
          <a:xfrm>
            <a:off x="6223095" y="2310460"/>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 name="Oval 16"/>
          <p:cNvSpPr/>
          <p:nvPr/>
        </p:nvSpPr>
        <p:spPr>
          <a:xfrm>
            <a:off x="6726637" y="263266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 name="Oval 17"/>
          <p:cNvSpPr/>
          <p:nvPr/>
        </p:nvSpPr>
        <p:spPr>
          <a:xfrm>
            <a:off x="6564727" y="3367734"/>
            <a:ext cx="322202" cy="416110"/>
          </a:xfrm>
          <a:prstGeom prst="ellipse">
            <a:avLst/>
          </a:prstGeom>
          <a:solidFill>
            <a:srgbClr val="FFC00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 name="Oval 18"/>
          <p:cNvSpPr/>
          <p:nvPr/>
        </p:nvSpPr>
        <p:spPr>
          <a:xfrm>
            <a:off x="7037505" y="2943529"/>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 name="Oval 19"/>
          <p:cNvSpPr/>
          <p:nvPr/>
        </p:nvSpPr>
        <p:spPr>
          <a:xfrm>
            <a:off x="6886929" y="382432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 name="Oval 20"/>
          <p:cNvSpPr/>
          <p:nvPr/>
        </p:nvSpPr>
        <p:spPr>
          <a:xfrm>
            <a:off x="7348373" y="3254397"/>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 name="Oval 21"/>
          <p:cNvSpPr/>
          <p:nvPr/>
        </p:nvSpPr>
        <p:spPr>
          <a:xfrm>
            <a:off x="6352623" y="4031566"/>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3" name="Oval 22"/>
          <p:cNvSpPr/>
          <p:nvPr/>
        </p:nvSpPr>
        <p:spPr>
          <a:xfrm>
            <a:off x="5834510" y="3160489"/>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4" name="Oval 23"/>
          <p:cNvSpPr/>
          <p:nvPr/>
        </p:nvSpPr>
        <p:spPr>
          <a:xfrm>
            <a:off x="5721175" y="2642376"/>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5" name="Oval 24"/>
          <p:cNvSpPr/>
          <p:nvPr/>
        </p:nvSpPr>
        <p:spPr>
          <a:xfrm>
            <a:off x="5068676" y="4531871"/>
            <a:ext cx="320582" cy="41610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6" name="Oval 25"/>
          <p:cNvSpPr/>
          <p:nvPr/>
        </p:nvSpPr>
        <p:spPr>
          <a:xfrm>
            <a:off x="5502595" y="4117379"/>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7" name="Oval 26"/>
          <p:cNvSpPr/>
          <p:nvPr/>
        </p:nvSpPr>
        <p:spPr>
          <a:xfrm>
            <a:off x="5876609" y="4716447"/>
            <a:ext cx="320582" cy="414490"/>
          </a:xfrm>
          <a:prstGeom prst="ellipse">
            <a:avLst/>
          </a:prstGeom>
          <a:solidFill>
            <a:schemeClr val="accent2"/>
          </a:solidFill>
          <a:ln>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8" name="Oval 27"/>
          <p:cNvSpPr/>
          <p:nvPr/>
        </p:nvSpPr>
        <p:spPr>
          <a:xfrm>
            <a:off x="5716317" y="2227885"/>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9" name="Oval 28"/>
          <p:cNvSpPr/>
          <p:nvPr/>
        </p:nvSpPr>
        <p:spPr>
          <a:xfrm>
            <a:off x="6430340" y="293381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33" name="Straight Arrow Connector 32"/>
          <p:cNvCxnSpPr/>
          <p:nvPr/>
        </p:nvCxnSpPr>
        <p:spPr>
          <a:xfrm flipV="1">
            <a:off x="9192530" y="4405581"/>
            <a:ext cx="103623" cy="331916"/>
          </a:xfrm>
          <a:prstGeom prst="straightConnector1">
            <a:avLst/>
          </a:prstGeom>
          <a:ln w="63500">
            <a:solidFill>
              <a:srgbClr val="0033C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9067860" y="4735876"/>
            <a:ext cx="113337" cy="354583"/>
          </a:xfrm>
          <a:prstGeom prst="straightConnector1">
            <a:avLst/>
          </a:prstGeom>
          <a:ln w="63500">
            <a:solidFill>
              <a:srgbClr val="FFCC00"/>
            </a:solidFill>
            <a:tailEnd type="triangle"/>
          </a:ln>
        </p:spPr>
        <p:style>
          <a:lnRef idx="1">
            <a:schemeClr val="accent1"/>
          </a:lnRef>
          <a:fillRef idx="0">
            <a:schemeClr val="accent1"/>
          </a:fillRef>
          <a:effectRef idx="0">
            <a:schemeClr val="accent1"/>
          </a:effectRef>
          <a:fontRef idx="minor">
            <a:schemeClr val="tx1"/>
          </a:fontRef>
        </p:style>
      </p:cxnSp>
      <p:sp>
        <p:nvSpPr>
          <p:cNvPr id="27678" name="TextBox 34"/>
          <p:cNvSpPr txBox="1">
            <a:spLocks noChangeArrowheads="1"/>
          </p:cNvSpPr>
          <p:nvPr/>
        </p:nvSpPr>
        <p:spPr bwMode="auto">
          <a:xfrm>
            <a:off x="1943807" y="1368143"/>
            <a:ext cx="6555484"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Present a training instance / adjust the weights</a:t>
            </a:r>
          </a:p>
        </p:txBody>
      </p:sp>
      <p:sp>
        <p:nvSpPr>
          <p:cNvPr id="4" name="Freeform 3"/>
          <p:cNvSpPr/>
          <p:nvPr/>
        </p:nvSpPr>
        <p:spPr>
          <a:xfrm>
            <a:off x="2549350" y="2724951"/>
            <a:ext cx="6890902" cy="2103214"/>
          </a:xfrm>
          <a:custGeom>
            <a:avLst/>
            <a:gdLst>
              <a:gd name="connsiteX0" fmla="*/ 0 w 6756400"/>
              <a:gd name="connsiteY0" fmla="*/ 1097280 h 2062480"/>
              <a:gd name="connsiteX1" fmla="*/ 71120 w 6756400"/>
              <a:gd name="connsiteY1" fmla="*/ 1087120 h 2062480"/>
              <a:gd name="connsiteX2" fmla="*/ 101600 w 6756400"/>
              <a:gd name="connsiteY2" fmla="*/ 1056640 h 2062480"/>
              <a:gd name="connsiteX3" fmla="*/ 132080 w 6756400"/>
              <a:gd name="connsiteY3" fmla="*/ 1046480 h 2062480"/>
              <a:gd name="connsiteX4" fmla="*/ 193040 w 6756400"/>
              <a:gd name="connsiteY4" fmla="*/ 1005840 h 2062480"/>
              <a:gd name="connsiteX5" fmla="*/ 487680 w 6756400"/>
              <a:gd name="connsiteY5" fmla="*/ 985520 h 2062480"/>
              <a:gd name="connsiteX6" fmla="*/ 934720 w 6756400"/>
              <a:gd name="connsiteY6" fmla="*/ 985520 h 2062480"/>
              <a:gd name="connsiteX7" fmla="*/ 985520 w 6756400"/>
              <a:gd name="connsiteY7" fmla="*/ 1026160 h 2062480"/>
              <a:gd name="connsiteX8" fmla="*/ 1016000 w 6756400"/>
              <a:gd name="connsiteY8" fmla="*/ 1046480 h 2062480"/>
              <a:gd name="connsiteX9" fmla="*/ 1107440 w 6756400"/>
              <a:gd name="connsiteY9" fmla="*/ 1137920 h 2062480"/>
              <a:gd name="connsiteX10" fmla="*/ 1188720 w 6756400"/>
              <a:gd name="connsiteY10" fmla="*/ 1148080 h 2062480"/>
              <a:gd name="connsiteX11" fmla="*/ 1280160 w 6756400"/>
              <a:gd name="connsiteY11" fmla="*/ 1219200 h 2062480"/>
              <a:gd name="connsiteX12" fmla="*/ 1290320 w 6756400"/>
              <a:gd name="connsiteY12" fmla="*/ 1249680 h 2062480"/>
              <a:gd name="connsiteX13" fmla="*/ 1412240 w 6756400"/>
              <a:gd name="connsiteY13" fmla="*/ 1280160 h 2062480"/>
              <a:gd name="connsiteX14" fmla="*/ 1483360 w 6756400"/>
              <a:gd name="connsiteY14" fmla="*/ 1270000 h 2062480"/>
              <a:gd name="connsiteX15" fmla="*/ 1503680 w 6756400"/>
              <a:gd name="connsiteY15" fmla="*/ 1239520 h 2062480"/>
              <a:gd name="connsiteX16" fmla="*/ 1564640 w 6756400"/>
              <a:gd name="connsiteY16" fmla="*/ 1188720 h 2062480"/>
              <a:gd name="connsiteX17" fmla="*/ 1574800 w 6756400"/>
              <a:gd name="connsiteY17" fmla="*/ 1117600 h 2062480"/>
              <a:gd name="connsiteX18" fmla="*/ 1595120 w 6756400"/>
              <a:gd name="connsiteY18" fmla="*/ 1046480 h 2062480"/>
              <a:gd name="connsiteX19" fmla="*/ 1615440 w 6756400"/>
              <a:gd name="connsiteY19" fmla="*/ 955040 h 2062480"/>
              <a:gd name="connsiteX20" fmla="*/ 1635760 w 6756400"/>
              <a:gd name="connsiteY20" fmla="*/ 924560 h 2062480"/>
              <a:gd name="connsiteX21" fmla="*/ 1666240 w 6756400"/>
              <a:gd name="connsiteY21" fmla="*/ 914400 h 2062480"/>
              <a:gd name="connsiteX22" fmla="*/ 1706880 w 6756400"/>
              <a:gd name="connsiteY22" fmla="*/ 853440 h 2062480"/>
              <a:gd name="connsiteX23" fmla="*/ 1727200 w 6756400"/>
              <a:gd name="connsiteY23" fmla="*/ 792480 h 2062480"/>
              <a:gd name="connsiteX24" fmla="*/ 1828800 w 6756400"/>
              <a:gd name="connsiteY24" fmla="*/ 741680 h 2062480"/>
              <a:gd name="connsiteX25" fmla="*/ 1859280 w 6756400"/>
              <a:gd name="connsiteY25" fmla="*/ 721360 h 2062480"/>
              <a:gd name="connsiteX26" fmla="*/ 1879600 w 6756400"/>
              <a:gd name="connsiteY26" fmla="*/ 690880 h 2062480"/>
              <a:gd name="connsiteX27" fmla="*/ 1910080 w 6756400"/>
              <a:gd name="connsiteY27" fmla="*/ 650240 h 2062480"/>
              <a:gd name="connsiteX28" fmla="*/ 2011680 w 6756400"/>
              <a:gd name="connsiteY28" fmla="*/ 609600 h 2062480"/>
              <a:gd name="connsiteX29" fmla="*/ 2042160 w 6756400"/>
              <a:gd name="connsiteY29" fmla="*/ 599440 h 2062480"/>
              <a:gd name="connsiteX30" fmla="*/ 2275840 w 6756400"/>
              <a:gd name="connsiteY30" fmla="*/ 619760 h 2062480"/>
              <a:gd name="connsiteX31" fmla="*/ 2306320 w 6756400"/>
              <a:gd name="connsiteY31" fmla="*/ 640080 h 2062480"/>
              <a:gd name="connsiteX32" fmla="*/ 2336800 w 6756400"/>
              <a:gd name="connsiteY32" fmla="*/ 650240 h 2062480"/>
              <a:gd name="connsiteX33" fmla="*/ 2377440 w 6756400"/>
              <a:gd name="connsiteY33" fmla="*/ 680720 h 2062480"/>
              <a:gd name="connsiteX34" fmla="*/ 2397760 w 6756400"/>
              <a:gd name="connsiteY34" fmla="*/ 711200 h 2062480"/>
              <a:gd name="connsiteX35" fmla="*/ 2428240 w 6756400"/>
              <a:gd name="connsiteY35" fmla="*/ 721360 h 2062480"/>
              <a:gd name="connsiteX36" fmla="*/ 2611120 w 6756400"/>
              <a:gd name="connsiteY36" fmla="*/ 731520 h 2062480"/>
              <a:gd name="connsiteX37" fmla="*/ 2661920 w 6756400"/>
              <a:gd name="connsiteY37" fmla="*/ 741680 h 2062480"/>
              <a:gd name="connsiteX38" fmla="*/ 2692400 w 6756400"/>
              <a:gd name="connsiteY38" fmla="*/ 751840 h 2062480"/>
              <a:gd name="connsiteX39" fmla="*/ 2733040 w 6756400"/>
              <a:gd name="connsiteY39" fmla="*/ 762000 h 2062480"/>
              <a:gd name="connsiteX40" fmla="*/ 2763520 w 6756400"/>
              <a:gd name="connsiteY40" fmla="*/ 782320 h 2062480"/>
              <a:gd name="connsiteX41" fmla="*/ 2885440 w 6756400"/>
              <a:gd name="connsiteY41" fmla="*/ 762000 h 2062480"/>
              <a:gd name="connsiteX42" fmla="*/ 2966720 w 6756400"/>
              <a:gd name="connsiteY42" fmla="*/ 741680 h 2062480"/>
              <a:gd name="connsiteX43" fmla="*/ 3068320 w 6756400"/>
              <a:gd name="connsiteY43" fmla="*/ 690880 h 2062480"/>
              <a:gd name="connsiteX44" fmla="*/ 3098800 w 6756400"/>
              <a:gd name="connsiteY44" fmla="*/ 660400 h 2062480"/>
              <a:gd name="connsiteX45" fmla="*/ 3119120 w 6756400"/>
              <a:gd name="connsiteY45" fmla="*/ 629920 h 2062480"/>
              <a:gd name="connsiteX46" fmla="*/ 3180080 w 6756400"/>
              <a:gd name="connsiteY46" fmla="*/ 609600 h 2062480"/>
              <a:gd name="connsiteX47" fmla="*/ 3241040 w 6756400"/>
              <a:gd name="connsiteY47" fmla="*/ 568960 h 2062480"/>
              <a:gd name="connsiteX48" fmla="*/ 3312160 w 6756400"/>
              <a:gd name="connsiteY48" fmla="*/ 548640 h 2062480"/>
              <a:gd name="connsiteX49" fmla="*/ 3373120 w 6756400"/>
              <a:gd name="connsiteY49" fmla="*/ 528320 h 2062480"/>
              <a:gd name="connsiteX50" fmla="*/ 3474720 w 6756400"/>
              <a:gd name="connsiteY50" fmla="*/ 518160 h 2062480"/>
              <a:gd name="connsiteX51" fmla="*/ 3556000 w 6756400"/>
              <a:gd name="connsiteY51" fmla="*/ 487680 h 2062480"/>
              <a:gd name="connsiteX52" fmla="*/ 3596640 w 6756400"/>
              <a:gd name="connsiteY52" fmla="*/ 436880 h 2062480"/>
              <a:gd name="connsiteX53" fmla="*/ 3667760 w 6756400"/>
              <a:gd name="connsiteY53" fmla="*/ 375920 h 2062480"/>
              <a:gd name="connsiteX54" fmla="*/ 3769360 w 6756400"/>
              <a:gd name="connsiteY54" fmla="*/ 284480 h 2062480"/>
              <a:gd name="connsiteX55" fmla="*/ 3799840 w 6756400"/>
              <a:gd name="connsiteY55" fmla="*/ 274320 h 2062480"/>
              <a:gd name="connsiteX56" fmla="*/ 3840480 w 6756400"/>
              <a:gd name="connsiteY56" fmla="*/ 243840 h 2062480"/>
              <a:gd name="connsiteX57" fmla="*/ 3891280 w 6756400"/>
              <a:gd name="connsiteY57" fmla="*/ 213360 h 2062480"/>
              <a:gd name="connsiteX58" fmla="*/ 3901440 w 6756400"/>
              <a:gd name="connsiteY58" fmla="*/ 182880 h 2062480"/>
              <a:gd name="connsiteX59" fmla="*/ 4023360 w 6756400"/>
              <a:gd name="connsiteY59" fmla="*/ 91440 h 2062480"/>
              <a:gd name="connsiteX60" fmla="*/ 4084320 w 6756400"/>
              <a:gd name="connsiteY60" fmla="*/ 60960 h 2062480"/>
              <a:gd name="connsiteX61" fmla="*/ 4460240 w 6756400"/>
              <a:gd name="connsiteY61" fmla="*/ 50800 h 2062480"/>
              <a:gd name="connsiteX62" fmla="*/ 4622800 w 6756400"/>
              <a:gd name="connsiteY62" fmla="*/ 10160 h 2062480"/>
              <a:gd name="connsiteX63" fmla="*/ 4744720 w 6756400"/>
              <a:gd name="connsiteY63" fmla="*/ 0 h 2062480"/>
              <a:gd name="connsiteX64" fmla="*/ 4968240 w 6756400"/>
              <a:gd name="connsiteY64" fmla="*/ 10160 h 2062480"/>
              <a:gd name="connsiteX65" fmla="*/ 5069840 w 6756400"/>
              <a:gd name="connsiteY65" fmla="*/ 30480 h 2062480"/>
              <a:gd name="connsiteX66" fmla="*/ 5191760 w 6756400"/>
              <a:gd name="connsiteY66" fmla="*/ 60960 h 2062480"/>
              <a:gd name="connsiteX67" fmla="*/ 5222240 w 6756400"/>
              <a:gd name="connsiteY67" fmla="*/ 81280 h 2062480"/>
              <a:gd name="connsiteX68" fmla="*/ 5262880 w 6756400"/>
              <a:gd name="connsiteY68" fmla="*/ 101600 h 2062480"/>
              <a:gd name="connsiteX69" fmla="*/ 5323840 w 6756400"/>
              <a:gd name="connsiteY69" fmla="*/ 142240 h 2062480"/>
              <a:gd name="connsiteX70" fmla="*/ 5334000 w 6756400"/>
              <a:gd name="connsiteY70" fmla="*/ 172720 h 2062480"/>
              <a:gd name="connsiteX71" fmla="*/ 5405120 w 6756400"/>
              <a:gd name="connsiteY71" fmla="*/ 274320 h 2062480"/>
              <a:gd name="connsiteX72" fmla="*/ 5445760 w 6756400"/>
              <a:gd name="connsiteY72" fmla="*/ 314960 h 2062480"/>
              <a:gd name="connsiteX73" fmla="*/ 5527040 w 6756400"/>
              <a:gd name="connsiteY73" fmla="*/ 416560 h 2062480"/>
              <a:gd name="connsiteX74" fmla="*/ 5557520 w 6756400"/>
              <a:gd name="connsiteY74" fmla="*/ 467360 h 2062480"/>
              <a:gd name="connsiteX75" fmla="*/ 5628640 w 6756400"/>
              <a:gd name="connsiteY75" fmla="*/ 528320 h 2062480"/>
              <a:gd name="connsiteX76" fmla="*/ 5659120 w 6756400"/>
              <a:gd name="connsiteY76" fmla="*/ 568960 h 2062480"/>
              <a:gd name="connsiteX77" fmla="*/ 5709920 w 6756400"/>
              <a:gd name="connsiteY77" fmla="*/ 609600 h 2062480"/>
              <a:gd name="connsiteX78" fmla="*/ 5791200 w 6756400"/>
              <a:gd name="connsiteY78" fmla="*/ 711200 h 2062480"/>
              <a:gd name="connsiteX79" fmla="*/ 5842000 w 6756400"/>
              <a:gd name="connsiteY79" fmla="*/ 772160 h 2062480"/>
              <a:gd name="connsiteX80" fmla="*/ 5872480 w 6756400"/>
              <a:gd name="connsiteY80" fmla="*/ 822960 h 2062480"/>
              <a:gd name="connsiteX81" fmla="*/ 5943600 w 6756400"/>
              <a:gd name="connsiteY81" fmla="*/ 894080 h 2062480"/>
              <a:gd name="connsiteX82" fmla="*/ 6004560 w 6756400"/>
              <a:gd name="connsiteY82" fmla="*/ 914400 h 2062480"/>
              <a:gd name="connsiteX83" fmla="*/ 6014720 w 6756400"/>
              <a:gd name="connsiteY83" fmla="*/ 1158240 h 2062480"/>
              <a:gd name="connsiteX84" fmla="*/ 6055360 w 6756400"/>
              <a:gd name="connsiteY84" fmla="*/ 1168400 h 2062480"/>
              <a:gd name="connsiteX85" fmla="*/ 6106160 w 6756400"/>
              <a:gd name="connsiteY85" fmla="*/ 1219200 h 2062480"/>
              <a:gd name="connsiteX86" fmla="*/ 6136640 w 6756400"/>
              <a:gd name="connsiteY86" fmla="*/ 1270000 h 2062480"/>
              <a:gd name="connsiteX87" fmla="*/ 6177280 w 6756400"/>
              <a:gd name="connsiteY87" fmla="*/ 1330960 h 2062480"/>
              <a:gd name="connsiteX88" fmla="*/ 6228080 w 6756400"/>
              <a:gd name="connsiteY88" fmla="*/ 1422400 h 2062480"/>
              <a:gd name="connsiteX89" fmla="*/ 6238240 w 6756400"/>
              <a:gd name="connsiteY89" fmla="*/ 1473200 h 2062480"/>
              <a:gd name="connsiteX90" fmla="*/ 6319520 w 6756400"/>
              <a:gd name="connsiteY90" fmla="*/ 1524000 h 2062480"/>
              <a:gd name="connsiteX91" fmla="*/ 6350000 w 6756400"/>
              <a:gd name="connsiteY91" fmla="*/ 1574800 h 2062480"/>
              <a:gd name="connsiteX92" fmla="*/ 6370320 w 6756400"/>
              <a:gd name="connsiteY92" fmla="*/ 1645920 h 2062480"/>
              <a:gd name="connsiteX93" fmla="*/ 6380480 w 6756400"/>
              <a:gd name="connsiteY93" fmla="*/ 1676400 h 2062480"/>
              <a:gd name="connsiteX94" fmla="*/ 6410960 w 6756400"/>
              <a:gd name="connsiteY94" fmla="*/ 1788160 h 2062480"/>
              <a:gd name="connsiteX95" fmla="*/ 6471920 w 6756400"/>
              <a:gd name="connsiteY95" fmla="*/ 1859280 h 2062480"/>
              <a:gd name="connsiteX96" fmla="*/ 6492240 w 6756400"/>
              <a:gd name="connsiteY96" fmla="*/ 1889760 h 2062480"/>
              <a:gd name="connsiteX97" fmla="*/ 6593840 w 6756400"/>
              <a:gd name="connsiteY97" fmla="*/ 1940560 h 2062480"/>
              <a:gd name="connsiteX98" fmla="*/ 6624320 w 6756400"/>
              <a:gd name="connsiteY98" fmla="*/ 1960880 h 2062480"/>
              <a:gd name="connsiteX99" fmla="*/ 6654800 w 6756400"/>
              <a:gd name="connsiteY99" fmla="*/ 1971040 h 2062480"/>
              <a:gd name="connsiteX100" fmla="*/ 6675120 w 6756400"/>
              <a:gd name="connsiteY100" fmla="*/ 2032000 h 2062480"/>
              <a:gd name="connsiteX101" fmla="*/ 6695440 w 6756400"/>
              <a:gd name="connsiteY101" fmla="*/ 2062480 h 2062480"/>
              <a:gd name="connsiteX102" fmla="*/ 6756400 w 6756400"/>
              <a:gd name="connsiteY102" fmla="*/ 2052320 h 206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756400" h="2062480">
                <a:moveTo>
                  <a:pt x="0" y="1097280"/>
                </a:moveTo>
                <a:cubicBezTo>
                  <a:pt x="23707" y="1093893"/>
                  <a:pt x="48885" y="1096014"/>
                  <a:pt x="71120" y="1087120"/>
                </a:cubicBezTo>
                <a:cubicBezTo>
                  <a:pt x="84461" y="1081784"/>
                  <a:pt x="89645" y="1064610"/>
                  <a:pt x="101600" y="1056640"/>
                </a:cubicBezTo>
                <a:cubicBezTo>
                  <a:pt x="110511" y="1050699"/>
                  <a:pt x="122718" y="1051681"/>
                  <a:pt x="132080" y="1046480"/>
                </a:cubicBezTo>
                <a:cubicBezTo>
                  <a:pt x="153428" y="1034620"/>
                  <a:pt x="168652" y="1007124"/>
                  <a:pt x="193040" y="1005840"/>
                </a:cubicBezTo>
                <a:cubicBezTo>
                  <a:pt x="420069" y="993891"/>
                  <a:pt x="321964" y="1002092"/>
                  <a:pt x="487680" y="985520"/>
                </a:cubicBezTo>
                <a:cubicBezTo>
                  <a:pt x="687422" y="935584"/>
                  <a:pt x="541076" y="963651"/>
                  <a:pt x="934720" y="985520"/>
                </a:cubicBezTo>
                <a:cubicBezTo>
                  <a:pt x="951653" y="999067"/>
                  <a:pt x="968172" y="1013149"/>
                  <a:pt x="985520" y="1026160"/>
                </a:cubicBezTo>
                <a:cubicBezTo>
                  <a:pt x="995289" y="1033486"/>
                  <a:pt x="1008053" y="1037209"/>
                  <a:pt x="1016000" y="1046480"/>
                </a:cubicBezTo>
                <a:cubicBezTo>
                  <a:pt x="1047165" y="1082840"/>
                  <a:pt x="1044740" y="1130083"/>
                  <a:pt x="1107440" y="1137920"/>
                </a:cubicBezTo>
                <a:lnTo>
                  <a:pt x="1188720" y="1148080"/>
                </a:lnTo>
                <a:cubicBezTo>
                  <a:pt x="1261635" y="1196690"/>
                  <a:pt x="1232411" y="1171451"/>
                  <a:pt x="1280160" y="1219200"/>
                </a:cubicBezTo>
                <a:cubicBezTo>
                  <a:pt x="1283547" y="1229360"/>
                  <a:pt x="1283630" y="1241317"/>
                  <a:pt x="1290320" y="1249680"/>
                </a:cubicBezTo>
                <a:cubicBezTo>
                  <a:pt x="1317636" y="1283824"/>
                  <a:pt x="1380697" y="1276655"/>
                  <a:pt x="1412240" y="1280160"/>
                </a:cubicBezTo>
                <a:cubicBezTo>
                  <a:pt x="1435947" y="1276773"/>
                  <a:pt x="1461477" y="1279726"/>
                  <a:pt x="1483360" y="1270000"/>
                </a:cubicBezTo>
                <a:cubicBezTo>
                  <a:pt x="1494518" y="1265041"/>
                  <a:pt x="1495863" y="1248901"/>
                  <a:pt x="1503680" y="1239520"/>
                </a:cubicBezTo>
                <a:cubicBezTo>
                  <a:pt x="1528126" y="1210184"/>
                  <a:pt x="1534670" y="1208700"/>
                  <a:pt x="1564640" y="1188720"/>
                </a:cubicBezTo>
                <a:cubicBezTo>
                  <a:pt x="1568027" y="1165013"/>
                  <a:pt x="1570516" y="1141161"/>
                  <a:pt x="1574800" y="1117600"/>
                </a:cubicBezTo>
                <a:cubicBezTo>
                  <a:pt x="1587470" y="1047917"/>
                  <a:pt x="1580612" y="1104513"/>
                  <a:pt x="1595120" y="1046480"/>
                </a:cubicBezTo>
                <a:cubicBezTo>
                  <a:pt x="1598013" y="1034907"/>
                  <a:pt x="1609182" y="969642"/>
                  <a:pt x="1615440" y="955040"/>
                </a:cubicBezTo>
                <a:cubicBezTo>
                  <a:pt x="1620250" y="943817"/>
                  <a:pt x="1626225" y="932188"/>
                  <a:pt x="1635760" y="924560"/>
                </a:cubicBezTo>
                <a:cubicBezTo>
                  <a:pt x="1644123" y="917870"/>
                  <a:pt x="1656080" y="917787"/>
                  <a:pt x="1666240" y="914400"/>
                </a:cubicBezTo>
                <a:cubicBezTo>
                  <a:pt x="1699852" y="813563"/>
                  <a:pt x="1643459" y="967598"/>
                  <a:pt x="1706880" y="853440"/>
                </a:cubicBezTo>
                <a:cubicBezTo>
                  <a:pt x="1717282" y="834716"/>
                  <a:pt x="1720427" y="812800"/>
                  <a:pt x="1727200" y="792480"/>
                </a:cubicBezTo>
                <a:cubicBezTo>
                  <a:pt x="1747234" y="732379"/>
                  <a:pt x="1726905" y="764323"/>
                  <a:pt x="1828800" y="741680"/>
                </a:cubicBezTo>
                <a:cubicBezTo>
                  <a:pt x="1838960" y="734907"/>
                  <a:pt x="1850646" y="729994"/>
                  <a:pt x="1859280" y="721360"/>
                </a:cubicBezTo>
                <a:cubicBezTo>
                  <a:pt x="1867914" y="712726"/>
                  <a:pt x="1872503" y="700816"/>
                  <a:pt x="1879600" y="690880"/>
                </a:cubicBezTo>
                <a:cubicBezTo>
                  <a:pt x="1889442" y="677101"/>
                  <a:pt x="1898106" y="662214"/>
                  <a:pt x="1910080" y="650240"/>
                </a:cubicBezTo>
                <a:cubicBezTo>
                  <a:pt x="1937285" y="623035"/>
                  <a:pt x="1976909" y="619535"/>
                  <a:pt x="2011680" y="609600"/>
                </a:cubicBezTo>
                <a:cubicBezTo>
                  <a:pt x="2021978" y="606658"/>
                  <a:pt x="2032000" y="602827"/>
                  <a:pt x="2042160" y="599440"/>
                </a:cubicBezTo>
                <a:cubicBezTo>
                  <a:pt x="2045615" y="599670"/>
                  <a:pt x="2238529" y="609584"/>
                  <a:pt x="2275840" y="619760"/>
                </a:cubicBezTo>
                <a:cubicBezTo>
                  <a:pt x="2287621" y="622973"/>
                  <a:pt x="2295398" y="634619"/>
                  <a:pt x="2306320" y="640080"/>
                </a:cubicBezTo>
                <a:cubicBezTo>
                  <a:pt x="2315899" y="644869"/>
                  <a:pt x="2326640" y="646853"/>
                  <a:pt x="2336800" y="650240"/>
                </a:cubicBezTo>
                <a:cubicBezTo>
                  <a:pt x="2350347" y="660400"/>
                  <a:pt x="2365466" y="668746"/>
                  <a:pt x="2377440" y="680720"/>
                </a:cubicBezTo>
                <a:cubicBezTo>
                  <a:pt x="2386074" y="689354"/>
                  <a:pt x="2388225" y="703572"/>
                  <a:pt x="2397760" y="711200"/>
                </a:cubicBezTo>
                <a:cubicBezTo>
                  <a:pt x="2406123" y="717890"/>
                  <a:pt x="2417579" y="720345"/>
                  <a:pt x="2428240" y="721360"/>
                </a:cubicBezTo>
                <a:cubicBezTo>
                  <a:pt x="2489019" y="727148"/>
                  <a:pt x="2550160" y="728133"/>
                  <a:pt x="2611120" y="731520"/>
                </a:cubicBezTo>
                <a:cubicBezTo>
                  <a:pt x="2628053" y="734907"/>
                  <a:pt x="2645167" y="737492"/>
                  <a:pt x="2661920" y="741680"/>
                </a:cubicBezTo>
                <a:cubicBezTo>
                  <a:pt x="2672310" y="744277"/>
                  <a:pt x="2682102" y="748898"/>
                  <a:pt x="2692400" y="751840"/>
                </a:cubicBezTo>
                <a:cubicBezTo>
                  <a:pt x="2705826" y="755676"/>
                  <a:pt x="2719493" y="758613"/>
                  <a:pt x="2733040" y="762000"/>
                </a:cubicBezTo>
                <a:cubicBezTo>
                  <a:pt x="2743200" y="768773"/>
                  <a:pt x="2751351" y="781306"/>
                  <a:pt x="2763520" y="782320"/>
                </a:cubicBezTo>
                <a:cubicBezTo>
                  <a:pt x="2838893" y="788601"/>
                  <a:pt x="2835194" y="775703"/>
                  <a:pt x="2885440" y="762000"/>
                </a:cubicBezTo>
                <a:cubicBezTo>
                  <a:pt x="2912383" y="754652"/>
                  <a:pt x="2966720" y="741680"/>
                  <a:pt x="2966720" y="741680"/>
                </a:cubicBezTo>
                <a:cubicBezTo>
                  <a:pt x="3039298" y="693294"/>
                  <a:pt x="3003988" y="706963"/>
                  <a:pt x="3068320" y="690880"/>
                </a:cubicBezTo>
                <a:cubicBezTo>
                  <a:pt x="3078480" y="680720"/>
                  <a:pt x="3089602" y="671438"/>
                  <a:pt x="3098800" y="660400"/>
                </a:cubicBezTo>
                <a:cubicBezTo>
                  <a:pt x="3106617" y="651019"/>
                  <a:pt x="3108765" y="636392"/>
                  <a:pt x="3119120" y="629920"/>
                </a:cubicBezTo>
                <a:cubicBezTo>
                  <a:pt x="3137283" y="618568"/>
                  <a:pt x="3162258" y="621481"/>
                  <a:pt x="3180080" y="609600"/>
                </a:cubicBezTo>
                <a:cubicBezTo>
                  <a:pt x="3200400" y="596053"/>
                  <a:pt x="3217872" y="576683"/>
                  <a:pt x="3241040" y="568960"/>
                </a:cubicBezTo>
                <a:cubicBezTo>
                  <a:pt x="3343474" y="534815"/>
                  <a:pt x="3184585" y="586912"/>
                  <a:pt x="3312160" y="548640"/>
                </a:cubicBezTo>
                <a:cubicBezTo>
                  <a:pt x="3332676" y="542485"/>
                  <a:pt x="3352068" y="532267"/>
                  <a:pt x="3373120" y="528320"/>
                </a:cubicBezTo>
                <a:cubicBezTo>
                  <a:pt x="3406573" y="522048"/>
                  <a:pt x="3440853" y="521547"/>
                  <a:pt x="3474720" y="518160"/>
                </a:cubicBezTo>
                <a:cubicBezTo>
                  <a:pt x="3500664" y="511674"/>
                  <a:pt x="3534748" y="506275"/>
                  <a:pt x="3556000" y="487680"/>
                </a:cubicBezTo>
                <a:cubicBezTo>
                  <a:pt x="3572320" y="473400"/>
                  <a:pt x="3582360" y="453200"/>
                  <a:pt x="3596640" y="436880"/>
                </a:cubicBezTo>
                <a:cubicBezTo>
                  <a:pt x="3643256" y="383605"/>
                  <a:pt x="3610720" y="427775"/>
                  <a:pt x="3667760" y="375920"/>
                </a:cubicBezTo>
                <a:cubicBezTo>
                  <a:pt x="3699939" y="346666"/>
                  <a:pt x="3728312" y="305004"/>
                  <a:pt x="3769360" y="284480"/>
                </a:cubicBezTo>
                <a:cubicBezTo>
                  <a:pt x="3778939" y="279691"/>
                  <a:pt x="3789680" y="277707"/>
                  <a:pt x="3799840" y="274320"/>
                </a:cubicBezTo>
                <a:cubicBezTo>
                  <a:pt x="3813387" y="264160"/>
                  <a:pt x="3826391" y="253233"/>
                  <a:pt x="3840480" y="243840"/>
                </a:cubicBezTo>
                <a:cubicBezTo>
                  <a:pt x="3856911" y="232886"/>
                  <a:pt x="3877316" y="227324"/>
                  <a:pt x="3891280" y="213360"/>
                </a:cubicBezTo>
                <a:cubicBezTo>
                  <a:pt x="3898853" y="205787"/>
                  <a:pt x="3895215" y="191595"/>
                  <a:pt x="3901440" y="182880"/>
                </a:cubicBezTo>
                <a:cubicBezTo>
                  <a:pt x="3933504" y="137990"/>
                  <a:pt x="3977812" y="121805"/>
                  <a:pt x="4023360" y="91440"/>
                </a:cubicBezTo>
                <a:cubicBezTo>
                  <a:pt x="4040715" y="79870"/>
                  <a:pt x="4061583" y="62097"/>
                  <a:pt x="4084320" y="60960"/>
                </a:cubicBezTo>
                <a:cubicBezTo>
                  <a:pt x="4209516" y="54700"/>
                  <a:pt x="4334933" y="54187"/>
                  <a:pt x="4460240" y="50800"/>
                </a:cubicBezTo>
                <a:cubicBezTo>
                  <a:pt x="4529400" y="27747"/>
                  <a:pt x="4539807" y="21477"/>
                  <a:pt x="4622800" y="10160"/>
                </a:cubicBezTo>
                <a:cubicBezTo>
                  <a:pt x="4663207" y="4650"/>
                  <a:pt x="4704080" y="3387"/>
                  <a:pt x="4744720" y="0"/>
                </a:cubicBezTo>
                <a:cubicBezTo>
                  <a:pt x="4819227" y="3387"/>
                  <a:pt x="4893846" y="4846"/>
                  <a:pt x="4968240" y="10160"/>
                </a:cubicBezTo>
                <a:cubicBezTo>
                  <a:pt x="5003116" y="12651"/>
                  <a:pt x="5036232" y="22078"/>
                  <a:pt x="5069840" y="30480"/>
                </a:cubicBezTo>
                <a:cubicBezTo>
                  <a:pt x="5139584" y="76976"/>
                  <a:pt x="5053659" y="26435"/>
                  <a:pt x="5191760" y="60960"/>
                </a:cubicBezTo>
                <a:cubicBezTo>
                  <a:pt x="5203606" y="63922"/>
                  <a:pt x="5211638" y="75222"/>
                  <a:pt x="5222240" y="81280"/>
                </a:cubicBezTo>
                <a:cubicBezTo>
                  <a:pt x="5235390" y="88794"/>
                  <a:pt x="5249893" y="93808"/>
                  <a:pt x="5262880" y="101600"/>
                </a:cubicBezTo>
                <a:cubicBezTo>
                  <a:pt x="5283821" y="114165"/>
                  <a:pt x="5323840" y="142240"/>
                  <a:pt x="5323840" y="142240"/>
                </a:cubicBezTo>
                <a:cubicBezTo>
                  <a:pt x="5327227" y="152400"/>
                  <a:pt x="5328799" y="163358"/>
                  <a:pt x="5334000" y="172720"/>
                </a:cubicBezTo>
                <a:cubicBezTo>
                  <a:pt x="5342325" y="187704"/>
                  <a:pt x="5388907" y="255790"/>
                  <a:pt x="5405120" y="274320"/>
                </a:cubicBezTo>
                <a:cubicBezTo>
                  <a:pt x="5417736" y="288738"/>
                  <a:pt x="5433292" y="300414"/>
                  <a:pt x="5445760" y="314960"/>
                </a:cubicBezTo>
                <a:cubicBezTo>
                  <a:pt x="5473985" y="347889"/>
                  <a:pt x="5504726" y="379370"/>
                  <a:pt x="5527040" y="416560"/>
                </a:cubicBezTo>
                <a:cubicBezTo>
                  <a:pt x="5537200" y="433493"/>
                  <a:pt x="5545396" y="451772"/>
                  <a:pt x="5557520" y="467360"/>
                </a:cubicBezTo>
                <a:cubicBezTo>
                  <a:pt x="5642489" y="576605"/>
                  <a:pt x="5559469" y="459149"/>
                  <a:pt x="5628640" y="528320"/>
                </a:cubicBezTo>
                <a:cubicBezTo>
                  <a:pt x="5640614" y="540294"/>
                  <a:pt x="5647146" y="556986"/>
                  <a:pt x="5659120" y="568960"/>
                </a:cubicBezTo>
                <a:cubicBezTo>
                  <a:pt x="5674454" y="584294"/>
                  <a:pt x="5695164" y="593709"/>
                  <a:pt x="5709920" y="609600"/>
                </a:cubicBezTo>
                <a:cubicBezTo>
                  <a:pt x="5739432" y="641382"/>
                  <a:pt x="5763851" y="677540"/>
                  <a:pt x="5791200" y="711200"/>
                </a:cubicBezTo>
                <a:cubicBezTo>
                  <a:pt x="5807880" y="731729"/>
                  <a:pt x="5828391" y="749479"/>
                  <a:pt x="5842000" y="772160"/>
                </a:cubicBezTo>
                <a:cubicBezTo>
                  <a:pt x="5852160" y="789093"/>
                  <a:pt x="5859838" y="807790"/>
                  <a:pt x="5872480" y="822960"/>
                </a:cubicBezTo>
                <a:cubicBezTo>
                  <a:pt x="5893943" y="848716"/>
                  <a:pt x="5911794" y="883478"/>
                  <a:pt x="5943600" y="894080"/>
                </a:cubicBezTo>
                <a:lnTo>
                  <a:pt x="6004560" y="914400"/>
                </a:lnTo>
                <a:cubicBezTo>
                  <a:pt x="6007947" y="995680"/>
                  <a:pt x="5998766" y="1078469"/>
                  <a:pt x="6014720" y="1158240"/>
                </a:cubicBezTo>
                <a:cubicBezTo>
                  <a:pt x="6017458" y="1171932"/>
                  <a:pt x="6043742" y="1160654"/>
                  <a:pt x="6055360" y="1168400"/>
                </a:cubicBezTo>
                <a:cubicBezTo>
                  <a:pt x="6075285" y="1181684"/>
                  <a:pt x="6091200" y="1200500"/>
                  <a:pt x="6106160" y="1219200"/>
                </a:cubicBezTo>
                <a:cubicBezTo>
                  <a:pt x="6118496" y="1234620"/>
                  <a:pt x="6126038" y="1253340"/>
                  <a:pt x="6136640" y="1270000"/>
                </a:cubicBezTo>
                <a:cubicBezTo>
                  <a:pt x="6149751" y="1290604"/>
                  <a:pt x="6164975" y="1309865"/>
                  <a:pt x="6177280" y="1330960"/>
                </a:cubicBezTo>
                <a:cubicBezTo>
                  <a:pt x="6261142" y="1474723"/>
                  <a:pt x="6169401" y="1334382"/>
                  <a:pt x="6228080" y="1422400"/>
                </a:cubicBezTo>
                <a:cubicBezTo>
                  <a:pt x="6231467" y="1439333"/>
                  <a:pt x="6230517" y="1457754"/>
                  <a:pt x="6238240" y="1473200"/>
                </a:cubicBezTo>
                <a:cubicBezTo>
                  <a:pt x="6254506" y="1505732"/>
                  <a:pt x="6289790" y="1512108"/>
                  <a:pt x="6319520" y="1524000"/>
                </a:cubicBezTo>
                <a:cubicBezTo>
                  <a:pt x="6329680" y="1540933"/>
                  <a:pt x="6341169" y="1557137"/>
                  <a:pt x="6350000" y="1574800"/>
                </a:cubicBezTo>
                <a:cubicBezTo>
                  <a:pt x="6358120" y="1591040"/>
                  <a:pt x="6365980" y="1630729"/>
                  <a:pt x="6370320" y="1645920"/>
                </a:cubicBezTo>
                <a:cubicBezTo>
                  <a:pt x="6373262" y="1656218"/>
                  <a:pt x="6377883" y="1666010"/>
                  <a:pt x="6380480" y="1676400"/>
                </a:cubicBezTo>
                <a:cubicBezTo>
                  <a:pt x="6385771" y="1697563"/>
                  <a:pt x="6396429" y="1773629"/>
                  <a:pt x="6410960" y="1788160"/>
                </a:cubicBezTo>
                <a:cubicBezTo>
                  <a:pt x="6447884" y="1825084"/>
                  <a:pt x="6439336" y="1813662"/>
                  <a:pt x="6471920" y="1859280"/>
                </a:cubicBezTo>
                <a:cubicBezTo>
                  <a:pt x="6479017" y="1869216"/>
                  <a:pt x="6483050" y="1881719"/>
                  <a:pt x="6492240" y="1889760"/>
                </a:cubicBezTo>
                <a:cubicBezTo>
                  <a:pt x="6540626" y="1932097"/>
                  <a:pt x="6543340" y="1927935"/>
                  <a:pt x="6593840" y="1940560"/>
                </a:cubicBezTo>
                <a:cubicBezTo>
                  <a:pt x="6604000" y="1947333"/>
                  <a:pt x="6613398" y="1955419"/>
                  <a:pt x="6624320" y="1960880"/>
                </a:cubicBezTo>
                <a:cubicBezTo>
                  <a:pt x="6633899" y="1965669"/>
                  <a:pt x="6648575" y="1962325"/>
                  <a:pt x="6654800" y="1971040"/>
                </a:cubicBezTo>
                <a:cubicBezTo>
                  <a:pt x="6667250" y="1988469"/>
                  <a:pt x="6663239" y="2014178"/>
                  <a:pt x="6675120" y="2032000"/>
                </a:cubicBezTo>
                <a:lnTo>
                  <a:pt x="6695440" y="2062480"/>
                </a:lnTo>
                <a:lnTo>
                  <a:pt x="6756400" y="205232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2"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Decision Boundary Perspective…</a:t>
            </a:r>
          </a:p>
        </p:txBody>
      </p:sp>
      <p:pic>
        <p:nvPicPr>
          <p:cNvPr id="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64057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6312147" y="494797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 name="Oval 5"/>
          <p:cNvSpPr/>
          <p:nvPr/>
        </p:nvSpPr>
        <p:spPr>
          <a:xfrm>
            <a:off x="4446940" y="2797810"/>
            <a:ext cx="320582" cy="414490"/>
          </a:xfrm>
          <a:prstGeom prst="ellipse">
            <a:avLst/>
          </a:prstGeom>
          <a:solidFill>
            <a:srgbClr val="FFC000"/>
          </a:solidFill>
          <a:ln>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Oval 6"/>
          <p:cNvSpPr/>
          <p:nvPr/>
        </p:nvSpPr>
        <p:spPr>
          <a:xfrm>
            <a:off x="4285030" y="3534502"/>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 name="Oval 7"/>
          <p:cNvSpPr/>
          <p:nvPr/>
        </p:nvSpPr>
        <p:spPr>
          <a:xfrm>
            <a:off x="4757808" y="3108677"/>
            <a:ext cx="320582" cy="414490"/>
          </a:xfrm>
          <a:prstGeom prst="ellipse">
            <a:avLst/>
          </a:prstGeom>
          <a:solidFill>
            <a:srgbClr val="FFC00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9" name="Oval 8"/>
          <p:cNvSpPr/>
          <p:nvPr/>
        </p:nvSpPr>
        <p:spPr>
          <a:xfrm>
            <a:off x="4607232" y="3989469"/>
            <a:ext cx="32058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Oval 9"/>
          <p:cNvSpPr/>
          <p:nvPr/>
        </p:nvSpPr>
        <p:spPr>
          <a:xfrm>
            <a:off x="5068676" y="3419545"/>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 name="Oval 10"/>
          <p:cNvSpPr/>
          <p:nvPr/>
        </p:nvSpPr>
        <p:spPr>
          <a:xfrm>
            <a:off x="4072926" y="419833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 name="Oval 11"/>
          <p:cNvSpPr/>
          <p:nvPr/>
        </p:nvSpPr>
        <p:spPr>
          <a:xfrm>
            <a:off x="3554813" y="3327257"/>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3" name="Oval 12"/>
          <p:cNvSpPr/>
          <p:nvPr/>
        </p:nvSpPr>
        <p:spPr>
          <a:xfrm>
            <a:off x="5342303" y="2456179"/>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 name="Oval 13"/>
          <p:cNvSpPr/>
          <p:nvPr/>
        </p:nvSpPr>
        <p:spPr>
          <a:xfrm>
            <a:off x="3477096" y="4582061"/>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 name="Oval 14"/>
          <p:cNvSpPr/>
          <p:nvPr/>
        </p:nvSpPr>
        <p:spPr>
          <a:xfrm>
            <a:off x="3389666" y="3970040"/>
            <a:ext cx="320582" cy="41611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 name="Oval 15"/>
          <p:cNvSpPr/>
          <p:nvPr/>
        </p:nvSpPr>
        <p:spPr>
          <a:xfrm>
            <a:off x="6223095" y="2310460"/>
            <a:ext cx="322201"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 name="Oval 16"/>
          <p:cNvSpPr/>
          <p:nvPr/>
        </p:nvSpPr>
        <p:spPr>
          <a:xfrm>
            <a:off x="6726637" y="263266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 name="Oval 17"/>
          <p:cNvSpPr/>
          <p:nvPr/>
        </p:nvSpPr>
        <p:spPr>
          <a:xfrm>
            <a:off x="6564727" y="3367734"/>
            <a:ext cx="322202" cy="416110"/>
          </a:xfrm>
          <a:prstGeom prst="ellipse">
            <a:avLst/>
          </a:prstGeom>
          <a:solidFill>
            <a:srgbClr val="FFC00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 name="Oval 18"/>
          <p:cNvSpPr/>
          <p:nvPr/>
        </p:nvSpPr>
        <p:spPr>
          <a:xfrm>
            <a:off x="7037505" y="2943529"/>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 name="Oval 19"/>
          <p:cNvSpPr/>
          <p:nvPr/>
        </p:nvSpPr>
        <p:spPr>
          <a:xfrm>
            <a:off x="6886929" y="382432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 name="Oval 20"/>
          <p:cNvSpPr/>
          <p:nvPr/>
        </p:nvSpPr>
        <p:spPr>
          <a:xfrm>
            <a:off x="7348373" y="3254397"/>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 name="Oval 21"/>
          <p:cNvSpPr/>
          <p:nvPr/>
        </p:nvSpPr>
        <p:spPr>
          <a:xfrm>
            <a:off x="6352623" y="4031566"/>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3" name="Oval 22"/>
          <p:cNvSpPr/>
          <p:nvPr/>
        </p:nvSpPr>
        <p:spPr>
          <a:xfrm>
            <a:off x="5834510" y="3160489"/>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4" name="Oval 23"/>
          <p:cNvSpPr/>
          <p:nvPr/>
        </p:nvSpPr>
        <p:spPr>
          <a:xfrm>
            <a:off x="5721175" y="2642376"/>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5" name="Oval 24"/>
          <p:cNvSpPr/>
          <p:nvPr/>
        </p:nvSpPr>
        <p:spPr>
          <a:xfrm>
            <a:off x="5068676" y="4531871"/>
            <a:ext cx="320582" cy="41610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6" name="Oval 25"/>
          <p:cNvSpPr/>
          <p:nvPr/>
        </p:nvSpPr>
        <p:spPr>
          <a:xfrm>
            <a:off x="5502595" y="4117379"/>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7" name="Oval 26"/>
          <p:cNvSpPr/>
          <p:nvPr/>
        </p:nvSpPr>
        <p:spPr>
          <a:xfrm>
            <a:off x="5876609" y="4716447"/>
            <a:ext cx="320582" cy="414490"/>
          </a:xfrm>
          <a:prstGeom prst="ellipse">
            <a:avLst/>
          </a:prstGeom>
          <a:solidFill>
            <a:schemeClr val="accent2"/>
          </a:solidFill>
          <a:ln>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8" name="Oval 27"/>
          <p:cNvSpPr/>
          <p:nvPr/>
        </p:nvSpPr>
        <p:spPr>
          <a:xfrm>
            <a:off x="5716317" y="2227885"/>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9" name="Oval 28"/>
          <p:cNvSpPr/>
          <p:nvPr/>
        </p:nvSpPr>
        <p:spPr>
          <a:xfrm>
            <a:off x="6430340" y="2933814"/>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33" name="Straight Arrow Connector 32"/>
          <p:cNvCxnSpPr/>
          <p:nvPr/>
        </p:nvCxnSpPr>
        <p:spPr>
          <a:xfrm flipH="1">
            <a:off x="8995001" y="4606348"/>
            <a:ext cx="145719" cy="484111"/>
          </a:xfrm>
          <a:prstGeom prst="straightConnector1">
            <a:avLst/>
          </a:prstGeom>
          <a:ln w="63500">
            <a:solidFill>
              <a:srgbClr val="0033C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9109955" y="4301957"/>
            <a:ext cx="144101" cy="433920"/>
          </a:xfrm>
          <a:prstGeom prst="straightConnector1">
            <a:avLst/>
          </a:prstGeom>
          <a:ln w="63500">
            <a:solidFill>
              <a:srgbClr val="FFCC00"/>
            </a:solidFill>
            <a:tailEnd type="triangle"/>
          </a:ln>
        </p:spPr>
        <p:style>
          <a:lnRef idx="1">
            <a:schemeClr val="accent1"/>
          </a:lnRef>
          <a:fillRef idx="0">
            <a:schemeClr val="accent1"/>
          </a:fillRef>
          <a:effectRef idx="0">
            <a:schemeClr val="accent1"/>
          </a:effectRef>
          <a:fontRef idx="minor">
            <a:schemeClr val="tx1"/>
          </a:fontRef>
        </p:style>
      </p:cxnSp>
      <p:sp>
        <p:nvSpPr>
          <p:cNvPr id="28702" name="TextBox 34"/>
          <p:cNvSpPr txBox="1">
            <a:spLocks noChangeArrowheads="1"/>
          </p:cNvSpPr>
          <p:nvPr/>
        </p:nvSpPr>
        <p:spPr bwMode="auto">
          <a:xfrm>
            <a:off x="1943806" y="1368143"/>
            <a:ext cx="2145335" cy="478376"/>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solidFill>
                  <a:schemeClr val="bg1"/>
                </a:solidFill>
              </a:rPr>
              <a:t>Eventually ….</a:t>
            </a:r>
          </a:p>
        </p:txBody>
      </p:sp>
      <p:sp>
        <p:nvSpPr>
          <p:cNvPr id="3" name="Freeform 2"/>
          <p:cNvSpPr/>
          <p:nvPr/>
        </p:nvSpPr>
        <p:spPr>
          <a:xfrm>
            <a:off x="2290293" y="1917017"/>
            <a:ext cx="7285964" cy="3213920"/>
          </a:xfrm>
          <a:custGeom>
            <a:avLst/>
            <a:gdLst>
              <a:gd name="connsiteX0" fmla="*/ 0 w 7142480"/>
              <a:gd name="connsiteY0" fmla="*/ 1605280 h 3150465"/>
              <a:gd name="connsiteX1" fmla="*/ 91440 w 7142480"/>
              <a:gd name="connsiteY1" fmla="*/ 1625600 h 3150465"/>
              <a:gd name="connsiteX2" fmla="*/ 162560 w 7142480"/>
              <a:gd name="connsiteY2" fmla="*/ 1666240 h 3150465"/>
              <a:gd name="connsiteX3" fmla="*/ 223520 w 7142480"/>
              <a:gd name="connsiteY3" fmla="*/ 1737360 h 3150465"/>
              <a:gd name="connsiteX4" fmla="*/ 243840 w 7142480"/>
              <a:gd name="connsiteY4" fmla="*/ 1767840 h 3150465"/>
              <a:gd name="connsiteX5" fmla="*/ 294640 w 7142480"/>
              <a:gd name="connsiteY5" fmla="*/ 1778000 h 3150465"/>
              <a:gd name="connsiteX6" fmla="*/ 325120 w 7142480"/>
              <a:gd name="connsiteY6" fmla="*/ 1788160 h 3150465"/>
              <a:gd name="connsiteX7" fmla="*/ 355600 w 7142480"/>
              <a:gd name="connsiteY7" fmla="*/ 1808480 h 3150465"/>
              <a:gd name="connsiteX8" fmla="*/ 396240 w 7142480"/>
              <a:gd name="connsiteY8" fmla="*/ 1838960 h 3150465"/>
              <a:gd name="connsiteX9" fmla="*/ 436880 w 7142480"/>
              <a:gd name="connsiteY9" fmla="*/ 1849120 h 3150465"/>
              <a:gd name="connsiteX10" fmla="*/ 487680 w 7142480"/>
              <a:gd name="connsiteY10" fmla="*/ 1889760 h 3150465"/>
              <a:gd name="connsiteX11" fmla="*/ 579120 w 7142480"/>
              <a:gd name="connsiteY11" fmla="*/ 1920240 h 3150465"/>
              <a:gd name="connsiteX12" fmla="*/ 792480 w 7142480"/>
              <a:gd name="connsiteY12" fmla="*/ 1910080 h 3150465"/>
              <a:gd name="connsiteX13" fmla="*/ 822960 w 7142480"/>
              <a:gd name="connsiteY13" fmla="*/ 1899920 h 3150465"/>
              <a:gd name="connsiteX14" fmla="*/ 944880 w 7142480"/>
              <a:gd name="connsiteY14" fmla="*/ 1879600 h 3150465"/>
              <a:gd name="connsiteX15" fmla="*/ 995680 w 7142480"/>
              <a:gd name="connsiteY15" fmla="*/ 1859280 h 3150465"/>
              <a:gd name="connsiteX16" fmla="*/ 1036320 w 7142480"/>
              <a:gd name="connsiteY16" fmla="*/ 1849120 h 3150465"/>
              <a:gd name="connsiteX17" fmla="*/ 1066800 w 7142480"/>
              <a:gd name="connsiteY17" fmla="*/ 1838960 h 3150465"/>
              <a:gd name="connsiteX18" fmla="*/ 1188720 w 7142480"/>
              <a:gd name="connsiteY18" fmla="*/ 1828800 h 3150465"/>
              <a:gd name="connsiteX19" fmla="*/ 1290320 w 7142480"/>
              <a:gd name="connsiteY19" fmla="*/ 1808480 h 3150465"/>
              <a:gd name="connsiteX20" fmla="*/ 1320800 w 7142480"/>
              <a:gd name="connsiteY20" fmla="*/ 1818640 h 3150465"/>
              <a:gd name="connsiteX21" fmla="*/ 1341120 w 7142480"/>
              <a:gd name="connsiteY21" fmla="*/ 1849120 h 3150465"/>
              <a:gd name="connsiteX22" fmla="*/ 1371600 w 7142480"/>
              <a:gd name="connsiteY22" fmla="*/ 1869440 h 3150465"/>
              <a:gd name="connsiteX23" fmla="*/ 1412240 w 7142480"/>
              <a:gd name="connsiteY23" fmla="*/ 1930400 h 3150465"/>
              <a:gd name="connsiteX24" fmla="*/ 1422400 w 7142480"/>
              <a:gd name="connsiteY24" fmla="*/ 1960880 h 3150465"/>
              <a:gd name="connsiteX25" fmla="*/ 1432560 w 7142480"/>
              <a:gd name="connsiteY25" fmla="*/ 2001520 h 3150465"/>
              <a:gd name="connsiteX26" fmla="*/ 1452880 w 7142480"/>
              <a:gd name="connsiteY26" fmla="*/ 2042160 h 3150465"/>
              <a:gd name="connsiteX27" fmla="*/ 1463040 w 7142480"/>
              <a:gd name="connsiteY27" fmla="*/ 2072640 h 3150465"/>
              <a:gd name="connsiteX28" fmla="*/ 1473200 w 7142480"/>
              <a:gd name="connsiteY28" fmla="*/ 2123440 h 3150465"/>
              <a:gd name="connsiteX29" fmla="*/ 1534160 w 7142480"/>
              <a:gd name="connsiteY29" fmla="*/ 2143760 h 3150465"/>
              <a:gd name="connsiteX30" fmla="*/ 1564640 w 7142480"/>
              <a:gd name="connsiteY30" fmla="*/ 2164080 h 3150465"/>
              <a:gd name="connsiteX31" fmla="*/ 1574800 w 7142480"/>
              <a:gd name="connsiteY31" fmla="*/ 2194560 h 3150465"/>
              <a:gd name="connsiteX32" fmla="*/ 1605280 w 7142480"/>
              <a:gd name="connsiteY32" fmla="*/ 2225040 h 3150465"/>
              <a:gd name="connsiteX33" fmla="*/ 1635760 w 7142480"/>
              <a:gd name="connsiteY33" fmla="*/ 2438400 h 3150465"/>
              <a:gd name="connsiteX34" fmla="*/ 1666240 w 7142480"/>
              <a:gd name="connsiteY34" fmla="*/ 2468880 h 3150465"/>
              <a:gd name="connsiteX35" fmla="*/ 1696720 w 7142480"/>
              <a:gd name="connsiteY35" fmla="*/ 2550160 h 3150465"/>
              <a:gd name="connsiteX36" fmla="*/ 1706880 w 7142480"/>
              <a:gd name="connsiteY36" fmla="*/ 2580640 h 3150465"/>
              <a:gd name="connsiteX37" fmla="*/ 1727200 w 7142480"/>
              <a:gd name="connsiteY37" fmla="*/ 2631440 h 3150465"/>
              <a:gd name="connsiteX38" fmla="*/ 1737360 w 7142480"/>
              <a:gd name="connsiteY38" fmla="*/ 2692400 h 3150465"/>
              <a:gd name="connsiteX39" fmla="*/ 1767840 w 7142480"/>
              <a:gd name="connsiteY39" fmla="*/ 2702560 h 3150465"/>
              <a:gd name="connsiteX40" fmla="*/ 1818640 w 7142480"/>
              <a:gd name="connsiteY40" fmla="*/ 2712720 h 3150465"/>
              <a:gd name="connsiteX41" fmla="*/ 1849120 w 7142480"/>
              <a:gd name="connsiteY41" fmla="*/ 2722880 h 3150465"/>
              <a:gd name="connsiteX42" fmla="*/ 1940560 w 7142480"/>
              <a:gd name="connsiteY42" fmla="*/ 2743200 h 3150465"/>
              <a:gd name="connsiteX43" fmla="*/ 2021840 w 7142480"/>
              <a:gd name="connsiteY43" fmla="*/ 2783840 h 3150465"/>
              <a:gd name="connsiteX44" fmla="*/ 2062480 w 7142480"/>
              <a:gd name="connsiteY44" fmla="*/ 2814320 h 3150465"/>
              <a:gd name="connsiteX45" fmla="*/ 2123440 w 7142480"/>
              <a:gd name="connsiteY45" fmla="*/ 2854960 h 3150465"/>
              <a:gd name="connsiteX46" fmla="*/ 2225040 w 7142480"/>
              <a:gd name="connsiteY46" fmla="*/ 2773680 h 3150465"/>
              <a:gd name="connsiteX47" fmla="*/ 2265680 w 7142480"/>
              <a:gd name="connsiteY47" fmla="*/ 2712720 h 3150465"/>
              <a:gd name="connsiteX48" fmla="*/ 2336800 w 7142480"/>
              <a:gd name="connsiteY48" fmla="*/ 2631440 h 3150465"/>
              <a:gd name="connsiteX49" fmla="*/ 2418080 w 7142480"/>
              <a:gd name="connsiteY49" fmla="*/ 2580640 h 3150465"/>
              <a:gd name="connsiteX50" fmla="*/ 2448560 w 7142480"/>
              <a:gd name="connsiteY50" fmla="*/ 2540000 h 3150465"/>
              <a:gd name="connsiteX51" fmla="*/ 2509520 w 7142480"/>
              <a:gd name="connsiteY51" fmla="*/ 2468880 h 3150465"/>
              <a:gd name="connsiteX52" fmla="*/ 2550160 w 7142480"/>
              <a:gd name="connsiteY52" fmla="*/ 2448560 h 3150465"/>
              <a:gd name="connsiteX53" fmla="*/ 2580640 w 7142480"/>
              <a:gd name="connsiteY53" fmla="*/ 2418080 h 3150465"/>
              <a:gd name="connsiteX54" fmla="*/ 2611120 w 7142480"/>
              <a:gd name="connsiteY54" fmla="*/ 2407920 h 3150465"/>
              <a:gd name="connsiteX55" fmla="*/ 2641600 w 7142480"/>
              <a:gd name="connsiteY55" fmla="*/ 2387600 h 3150465"/>
              <a:gd name="connsiteX56" fmla="*/ 2672080 w 7142480"/>
              <a:gd name="connsiteY56" fmla="*/ 2377440 h 3150465"/>
              <a:gd name="connsiteX57" fmla="*/ 2733040 w 7142480"/>
              <a:gd name="connsiteY57" fmla="*/ 2336800 h 3150465"/>
              <a:gd name="connsiteX58" fmla="*/ 2875280 w 7142480"/>
              <a:gd name="connsiteY58" fmla="*/ 2286000 h 3150465"/>
              <a:gd name="connsiteX59" fmla="*/ 2956560 w 7142480"/>
              <a:gd name="connsiteY59" fmla="*/ 2245360 h 3150465"/>
              <a:gd name="connsiteX60" fmla="*/ 3017520 w 7142480"/>
              <a:gd name="connsiteY60" fmla="*/ 2194560 h 3150465"/>
              <a:gd name="connsiteX61" fmla="*/ 3048000 w 7142480"/>
              <a:gd name="connsiteY61" fmla="*/ 2184400 h 3150465"/>
              <a:gd name="connsiteX62" fmla="*/ 3078480 w 7142480"/>
              <a:gd name="connsiteY62" fmla="*/ 2153920 h 3150465"/>
              <a:gd name="connsiteX63" fmla="*/ 3180080 w 7142480"/>
              <a:gd name="connsiteY63" fmla="*/ 2082800 h 3150465"/>
              <a:gd name="connsiteX64" fmla="*/ 3210560 w 7142480"/>
              <a:gd name="connsiteY64" fmla="*/ 2062480 h 3150465"/>
              <a:gd name="connsiteX65" fmla="*/ 3261360 w 7142480"/>
              <a:gd name="connsiteY65" fmla="*/ 1940560 h 3150465"/>
              <a:gd name="connsiteX66" fmla="*/ 3271520 w 7142480"/>
              <a:gd name="connsiteY66" fmla="*/ 1910080 h 3150465"/>
              <a:gd name="connsiteX67" fmla="*/ 3312160 w 7142480"/>
              <a:gd name="connsiteY67" fmla="*/ 1879600 h 3150465"/>
              <a:gd name="connsiteX68" fmla="*/ 3332480 w 7142480"/>
              <a:gd name="connsiteY68" fmla="*/ 1798320 h 3150465"/>
              <a:gd name="connsiteX69" fmla="*/ 3362960 w 7142480"/>
              <a:gd name="connsiteY69" fmla="*/ 1727200 h 3150465"/>
              <a:gd name="connsiteX70" fmla="*/ 3220720 w 7142480"/>
              <a:gd name="connsiteY70" fmla="*/ 1676400 h 3150465"/>
              <a:gd name="connsiteX71" fmla="*/ 3190240 w 7142480"/>
              <a:gd name="connsiteY71" fmla="*/ 1645920 h 3150465"/>
              <a:gd name="connsiteX72" fmla="*/ 3180080 w 7142480"/>
              <a:gd name="connsiteY72" fmla="*/ 1615440 h 3150465"/>
              <a:gd name="connsiteX73" fmla="*/ 3169920 w 7142480"/>
              <a:gd name="connsiteY73" fmla="*/ 1544320 h 3150465"/>
              <a:gd name="connsiteX74" fmla="*/ 3078480 w 7142480"/>
              <a:gd name="connsiteY74" fmla="*/ 1402080 h 3150465"/>
              <a:gd name="connsiteX75" fmla="*/ 3048000 w 7142480"/>
              <a:gd name="connsiteY75" fmla="*/ 1330960 h 3150465"/>
              <a:gd name="connsiteX76" fmla="*/ 2956560 w 7142480"/>
              <a:gd name="connsiteY76" fmla="*/ 1320800 h 3150465"/>
              <a:gd name="connsiteX77" fmla="*/ 2783840 w 7142480"/>
              <a:gd name="connsiteY77" fmla="*/ 1219200 h 3150465"/>
              <a:gd name="connsiteX78" fmla="*/ 2702560 w 7142480"/>
              <a:gd name="connsiteY78" fmla="*/ 1137920 h 3150465"/>
              <a:gd name="connsiteX79" fmla="*/ 2661920 w 7142480"/>
              <a:gd name="connsiteY79" fmla="*/ 1076960 h 3150465"/>
              <a:gd name="connsiteX80" fmla="*/ 2641600 w 7142480"/>
              <a:gd name="connsiteY80" fmla="*/ 1046480 h 3150465"/>
              <a:gd name="connsiteX81" fmla="*/ 2580640 w 7142480"/>
              <a:gd name="connsiteY81" fmla="*/ 1076960 h 3150465"/>
              <a:gd name="connsiteX82" fmla="*/ 2651760 w 7142480"/>
              <a:gd name="connsiteY82" fmla="*/ 914400 h 3150465"/>
              <a:gd name="connsiteX83" fmla="*/ 2672080 w 7142480"/>
              <a:gd name="connsiteY83" fmla="*/ 822960 h 3150465"/>
              <a:gd name="connsiteX84" fmla="*/ 2682240 w 7142480"/>
              <a:gd name="connsiteY84" fmla="*/ 782320 h 3150465"/>
              <a:gd name="connsiteX85" fmla="*/ 2722880 w 7142480"/>
              <a:gd name="connsiteY85" fmla="*/ 619760 h 3150465"/>
              <a:gd name="connsiteX86" fmla="*/ 2753360 w 7142480"/>
              <a:gd name="connsiteY86" fmla="*/ 558800 h 3150465"/>
              <a:gd name="connsiteX87" fmla="*/ 2794000 w 7142480"/>
              <a:gd name="connsiteY87" fmla="*/ 538480 h 3150465"/>
              <a:gd name="connsiteX88" fmla="*/ 2905760 w 7142480"/>
              <a:gd name="connsiteY88" fmla="*/ 457200 h 3150465"/>
              <a:gd name="connsiteX89" fmla="*/ 3007360 w 7142480"/>
              <a:gd name="connsiteY89" fmla="*/ 375920 h 3150465"/>
              <a:gd name="connsiteX90" fmla="*/ 3281680 w 7142480"/>
              <a:gd name="connsiteY90" fmla="*/ 233680 h 3150465"/>
              <a:gd name="connsiteX91" fmla="*/ 3495040 w 7142480"/>
              <a:gd name="connsiteY91" fmla="*/ 142240 h 3150465"/>
              <a:gd name="connsiteX92" fmla="*/ 3667760 w 7142480"/>
              <a:gd name="connsiteY92" fmla="*/ 91440 h 3150465"/>
              <a:gd name="connsiteX93" fmla="*/ 3942080 w 7142480"/>
              <a:gd name="connsiteY93" fmla="*/ 30480 h 3150465"/>
              <a:gd name="connsiteX94" fmla="*/ 4104640 w 7142480"/>
              <a:gd name="connsiteY94" fmla="*/ 20320 h 3150465"/>
              <a:gd name="connsiteX95" fmla="*/ 4277360 w 7142480"/>
              <a:gd name="connsiteY95" fmla="*/ 0 h 3150465"/>
              <a:gd name="connsiteX96" fmla="*/ 4409440 w 7142480"/>
              <a:gd name="connsiteY96" fmla="*/ 40640 h 3150465"/>
              <a:gd name="connsiteX97" fmla="*/ 4429760 w 7142480"/>
              <a:gd name="connsiteY97" fmla="*/ 71120 h 3150465"/>
              <a:gd name="connsiteX98" fmla="*/ 4439920 w 7142480"/>
              <a:gd name="connsiteY98" fmla="*/ 193040 h 3150465"/>
              <a:gd name="connsiteX99" fmla="*/ 4450080 w 7142480"/>
              <a:gd name="connsiteY99" fmla="*/ 233680 h 3150465"/>
              <a:gd name="connsiteX100" fmla="*/ 4460240 w 7142480"/>
              <a:gd name="connsiteY100" fmla="*/ 284480 h 3150465"/>
              <a:gd name="connsiteX101" fmla="*/ 4429760 w 7142480"/>
              <a:gd name="connsiteY101" fmla="*/ 650240 h 3150465"/>
              <a:gd name="connsiteX102" fmla="*/ 4368800 w 7142480"/>
              <a:gd name="connsiteY102" fmla="*/ 731520 h 3150465"/>
              <a:gd name="connsiteX103" fmla="*/ 4318000 w 7142480"/>
              <a:gd name="connsiteY103" fmla="*/ 762000 h 3150465"/>
              <a:gd name="connsiteX104" fmla="*/ 4297680 w 7142480"/>
              <a:gd name="connsiteY104" fmla="*/ 792480 h 3150465"/>
              <a:gd name="connsiteX105" fmla="*/ 4287520 w 7142480"/>
              <a:gd name="connsiteY105" fmla="*/ 843280 h 3150465"/>
              <a:gd name="connsiteX106" fmla="*/ 4277360 w 7142480"/>
              <a:gd name="connsiteY106" fmla="*/ 873760 h 3150465"/>
              <a:gd name="connsiteX107" fmla="*/ 4267200 w 7142480"/>
              <a:gd name="connsiteY107" fmla="*/ 914400 h 3150465"/>
              <a:gd name="connsiteX108" fmla="*/ 4206240 w 7142480"/>
              <a:gd name="connsiteY108" fmla="*/ 955040 h 3150465"/>
              <a:gd name="connsiteX109" fmla="*/ 4175760 w 7142480"/>
              <a:gd name="connsiteY109" fmla="*/ 975360 h 3150465"/>
              <a:gd name="connsiteX110" fmla="*/ 4135120 w 7142480"/>
              <a:gd name="connsiteY110" fmla="*/ 1005840 h 3150465"/>
              <a:gd name="connsiteX111" fmla="*/ 4043680 w 7142480"/>
              <a:gd name="connsiteY111" fmla="*/ 1036320 h 3150465"/>
              <a:gd name="connsiteX112" fmla="*/ 3982720 w 7142480"/>
              <a:gd name="connsiteY112" fmla="*/ 1076960 h 3150465"/>
              <a:gd name="connsiteX113" fmla="*/ 3942080 w 7142480"/>
              <a:gd name="connsiteY113" fmla="*/ 1117600 h 3150465"/>
              <a:gd name="connsiteX114" fmla="*/ 3921760 w 7142480"/>
              <a:gd name="connsiteY114" fmla="*/ 1148080 h 3150465"/>
              <a:gd name="connsiteX115" fmla="*/ 3891280 w 7142480"/>
              <a:gd name="connsiteY115" fmla="*/ 1168400 h 3150465"/>
              <a:gd name="connsiteX116" fmla="*/ 3810000 w 7142480"/>
              <a:gd name="connsiteY116" fmla="*/ 1198880 h 3150465"/>
              <a:gd name="connsiteX117" fmla="*/ 3535680 w 7142480"/>
              <a:gd name="connsiteY117" fmla="*/ 1209040 h 3150465"/>
              <a:gd name="connsiteX118" fmla="*/ 3505200 w 7142480"/>
              <a:gd name="connsiteY118" fmla="*/ 1219200 h 3150465"/>
              <a:gd name="connsiteX119" fmla="*/ 3474720 w 7142480"/>
              <a:gd name="connsiteY119" fmla="*/ 1310640 h 3150465"/>
              <a:gd name="connsiteX120" fmla="*/ 3454400 w 7142480"/>
              <a:gd name="connsiteY120" fmla="*/ 1341120 h 3150465"/>
              <a:gd name="connsiteX121" fmla="*/ 3444240 w 7142480"/>
              <a:gd name="connsiteY121" fmla="*/ 1534160 h 3150465"/>
              <a:gd name="connsiteX122" fmla="*/ 3444240 w 7142480"/>
              <a:gd name="connsiteY122" fmla="*/ 1686560 h 3150465"/>
              <a:gd name="connsiteX123" fmla="*/ 3454400 w 7142480"/>
              <a:gd name="connsiteY123" fmla="*/ 1737360 h 3150465"/>
              <a:gd name="connsiteX124" fmla="*/ 3525520 w 7142480"/>
              <a:gd name="connsiteY124" fmla="*/ 1757680 h 3150465"/>
              <a:gd name="connsiteX125" fmla="*/ 3566160 w 7142480"/>
              <a:gd name="connsiteY125" fmla="*/ 1798320 h 3150465"/>
              <a:gd name="connsiteX126" fmla="*/ 3596640 w 7142480"/>
              <a:gd name="connsiteY126" fmla="*/ 1818640 h 3150465"/>
              <a:gd name="connsiteX127" fmla="*/ 3637280 w 7142480"/>
              <a:gd name="connsiteY127" fmla="*/ 1910080 h 3150465"/>
              <a:gd name="connsiteX128" fmla="*/ 3667760 w 7142480"/>
              <a:gd name="connsiteY128" fmla="*/ 1930400 h 3150465"/>
              <a:gd name="connsiteX129" fmla="*/ 3708400 w 7142480"/>
              <a:gd name="connsiteY129" fmla="*/ 1940560 h 3150465"/>
              <a:gd name="connsiteX130" fmla="*/ 3728720 w 7142480"/>
              <a:gd name="connsiteY130" fmla="*/ 2021840 h 3150465"/>
              <a:gd name="connsiteX131" fmla="*/ 3738880 w 7142480"/>
              <a:gd name="connsiteY131" fmla="*/ 2052320 h 3150465"/>
              <a:gd name="connsiteX132" fmla="*/ 3749040 w 7142480"/>
              <a:gd name="connsiteY132" fmla="*/ 2103120 h 3150465"/>
              <a:gd name="connsiteX133" fmla="*/ 3759200 w 7142480"/>
              <a:gd name="connsiteY133" fmla="*/ 2133600 h 3150465"/>
              <a:gd name="connsiteX134" fmla="*/ 3799840 w 7142480"/>
              <a:gd name="connsiteY134" fmla="*/ 2194560 h 3150465"/>
              <a:gd name="connsiteX135" fmla="*/ 3810000 w 7142480"/>
              <a:gd name="connsiteY135" fmla="*/ 2346960 h 3150465"/>
              <a:gd name="connsiteX136" fmla="*/ 3840480 w 7142480"/>
              <a:gd name="connsiteY136" fmla="*/ 2377440 h 3150465"/>
              <a:gd name="connsiteX137" fmla="*/ 3891280 w 7142480"/>
              <a:gd name="connsiteY137" fmla="*/ 2448560 h 3150465"/>
              <a:gd name="connsiteX138" fmla="*/ 3901440 w 7142480"/>
              <a:gd name="connsiteY138" fmla="*/ 2489200 h 3150465"/>
              <a:gd name="connsiteX139" fmla="*/ 3931920 w 7142480"/>
              <a:gd name="connsiteY139" fmla="*/ 2529840 h 3150465"/>
              <a:gd name="connsiteX140" fmla="*/ 4033520 w 7142480"/>
              <a:gd name="connsiteY140" fmla="*/ 2600960 h 3150465"/>
              <a:gd name="connsiteX141" fmla="*/ 4074160 w 7142480"/>
              <a:gd name="connsiteY141" fmla="*/ 2611120 h 3150465"/>
              <a:gd name="connsiteX142" fmla="*/ 4124960 w 7142480"/>
              <a:gd name="connsiteY142" fmla="*/ 2631440 h 3150465"/>
              <a:gd name="connsiteX143" fmla="*/ 4165600 w 7142480"/>
              <a:gd name="connsiteY143" fmla="*/ 2641600 h 3150465"/>
              <a:gd name="connsiteX144" fmla="*/ 4206240 w 7142480"/>
              <a:gd name="connsiteY144" fmla="*/ 2661920 h 3150465"/>
              <a:gd name="connsiteX145" fmla="*/ 4236720 w 7142480"/>
              <a:gd name="connsiteY145" fmla="*/ 2682240 h 3150465"/>
              <a:gd name="connsiteX146" fmla="*/ 4287520 w 7142480"/>
              <a:gd name="connsiteY146" fmla="*/ 2692400 h 3150465"/>
              <a:gd name="connsiteX147" fmla="*/ 4429760 w 7142480"/>
              <a:gd name="connsiteY147" fmla="*/ 2702560 h 3150465"/>
              <a:gd name="connsiteX148" fmla="*/ 4500880 w 7142480"/>
              <a:gd name="connsiteY148" fmla="*/ 2712720 h 3150465"/>
              <a:gd name="connsiteX149" fmla="*/ 4582160 w 7142480"/>
              <a:gd name="connsiteY149" fmla="*/ 2722880 h 3150465"/>
              <a:gd name="connsiteX150" fmla="*/ 4653280 w 7142480"/>
              <a:gd name="connsiteY150" fmla="*/ 2743200 h 3150465"/>
              <a:gd name="connsiteX151" fmla="*/ 4704080 w 7142480"/>
              <a:gd name="connsiteY151" fmla="*/ 2753360 h 3150465"/>
              <a:gd name="connsiteX152" fmla="*/ 4734560 w 7142480"/>
              <a:gd name="connsiteY152" fmla="*/ 2773680 h 3150465"/>
              <a:gd name="connsiteX153" fmla="*/ 4907280 w 7142480"/>
              <a:gd name="connsiteY153" fmla="*/ 2794000 h 3150465"/>
              <a:gd name="connsiteX154" fmla="*/ 5039360 w 7142480"/>
              <a:gd name="connsiteY154" fmla="*/ 2875280 h 3150465"/>
              <a:gd name="connsiteX155" fmla="*/ 5100320 w 7142480"/>
              <a:gd name="connsiteY155" fmla="*/ 2966720 h 3150465"/>
              <a:gd name="connsiteX156" fmla="*/ 5130800 w 7142480"/>
              <a:gd name="connsiteY156" fmla="*/ 2997200 h 3150465"/>
              <a:gd name="connsiteX157" fmla="*/ 5334000 w 7142480"/>
              <a:gd name="connsiteY157" fmla="*/ 3088640 h 3150465"/>
              <a:gd name="connsiteX158" fmla="*/ 5364480 w 7142480"/>
              <a:gd name="connsiteY158" fmla="*/ 3108960 h 3150465"/>
              <a:gd name="connsiteX159" fmla="*/ 5405120 w 7142480"/>
              <a:gd name="connsiteY159" fmla="*/ 3119120 h 3150465"/>
              <a:gd name="connsiteX160" fmla="*/ 5435600 w 7142480"/>
              <a:gd name="connsiteY160" fmla="*/ 3149600 h 3150465"/>
              <a:gd name="connsiteX161" fmla="*/ 5516880 w 7142480"/>
              <a:gd name="connsiteY161" fmla="*/ 3068320 h 3150465"/>
              <a:gd name="connsiteX162" fmla="*/ 5628640 w 7142480"/>
              <a:gd name="connsiteY162" fmla="*/ 2966720 h 3150465"/>
              <a:gd name="connsiteX163" fmla="*/ 5781040 w 7142480"/>
              <a:gd name="connsiteY163" fmla="*/ 2844800 h 3150465"/>
              <a:gd name="connsiteX164" fmla="*/ 6024880 w 7142480"/>
              <a:gd name="connsiteY164" fmla="*/ 2682240 h 3150465"/>
              <a:gd name="connsiteX165" fmla="*/ 6085840 w 7142480"/>
              <a:gd name="connsiteY165" fmla="*/ 2651760 h 3150465"/>
              <a:gd name="connsiteX166" fmla="*/ 6136640 w 7142480"/>
              <a:gd name="connsiteY166" fmla="*/ 2631440 h 3150465"/>
              <a:gd name="connsiteX167" fmla="*/ 6167120 w 7142480"/>
              <a:gd name="connsiteY167" fmla="*/ 2611120 h 3150465"/>
              <a:gd name="connsiteX168" fmla="*/ 6217920 w 7142480"/>
              <a:gd name="connsiteY168" fmla="*/ 2600960 h 3150465"/>
              <a:gd name="connsiteX169" fmla="*/ 6350000 w 7142480"/>
              <a:gd name="connsiteY169" fmla="*/ 2611120 h 3150465"/>
              <a:gd name="connsiteX170" fmla="*/ 6380480 w 7142480"/>
              <a:gd name="connsiteY170" fmla="*/ 2621280 h 3150465"/>
              <a:gd name="connsiteX171" fmla="*/ 6532880 w 7142480"/>
              <a:gd name="connsiteY171" fmla="*/ 2631440 h 3150465"/>
              <a:gd name="connsiteX172" fmla="*/ 6543040 w 7142480"/>
              <a:gd name="connsiteY172" fmla="*/ 2661920 h 3150465"/>
              <a:gd name="connsiteX173" fmla="*/ 6553200 w 7142480"/>
              <a:gd name="connsiteY173" fmla="*/ 2702560 h 3150465"/>
              <a:gd name="connsiteX174" fmla="*/ 6583680 w 7142480"/>
              <a:gd name="connsiteY174" fmla="*/ 2712720 h 3150465"/>
              <a:gd name="connsiteX175" fmla="*/ 6715760 w 7142480"/>
              <a:gd name="connsiteY175" fmla="*/ 2733040 h 3150465"/>
              <a:gd name="connsiteX176" fmla="*/ 6736080 w 7142480"/>
              <a:gd name="connsiteY176" fmla="*/ 2763520 h 3150465"/>
              <a:gd name="connsiteX177" fmla="*/ 6807200 w 7142480"/>
              <a:gd name="connsiteY177" fmla="*/ 2783840 h 3150465"/>
              <a:gd name="connsiteX178" fmla="*/ 6827520 w 7142480"/>
              <a:gd name="connsiteY178" fmla="*/ 2814320 h 3150465"/>
              <a:gd name="connsiteX179" fmla="*/ 6858000 w 7142480"/>
              <a:gd name="connsiteY179" fmla="*/ 2824480 h 3150465"/>
              <a:gd name="connsiteX180" fmla="*/ 6929120 w 7142480"/>
              <a:gd name="connsiteY180" fmla="*/ 2834640 h 3150465"/>
              <a:gd name="connsiteX181" fmla="*/ 7061200 w 7142480"/>
              <a:gd name="connsiteY181" fmla="*/ 2854960 h 3150465"/>
              <a:gd name="connsiteX182" fmla="*/ 7132320 w 7142480"/>
              <a:gd name="connsiteY182" fmla="*/ 2895600 h 3150465"/>
              <a:gd name="connsiteX183" fmla="*/ 7142480 w 7142480"/>
              <a:gd name="connsiteY183" fmla="*/ 2905760 h 315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7142480" h="3150465">
                <a:moveTo>
                  <a:pt x="0" y="1605280"/>
                </a:moveTo>
                <a:cubicBezTo>
                  <a:pt x="30480" y="1612053"/>
                  <a:pt x="61597" y="1616418"/>
                  <a:pt x="91440" y="1625600"/>
                </a:cubicBezTo>
                <a:cubicBezTo>
                  <a:pt x="107194" y="1630447"/>
                  <a:pt x="148347" y="1654396"/>
                  <a:pt x="162560" y="1666240"/>
                </a:cubicBezTo>
                <a:cubicBezTo>
                  <a:pt x="188624" y="1687960"/>
                  <a:pt x="203734" y="1709660"/>
                  <a:pt x="223520" y="1737360"/>
                </a:cubicBezTo>
                <a:cubicBezTo>
                  <a:pt x="230617" y="1747296"/>
                  <a:pt x="233238" y="1761782"/>
                  <a:pt x="243840" y="1767840"/>
                </a:cubicBezTo>
                <a:cubicBezTo>
                  <a:pt x="258833" y="1776408"/>
                  <a:pt x="277887" y="1773812"/>
                  <a:pt x="294640" y="1778000"/>
                </a:cubicBezTo>
                <a:cubicBezTo>
                  <a:pt x="305030" y="1780597"/>
                  <a:pt x="315541" y="1783371"/>
                  <a:pt x="325120" y="1788160"/>
                </a:cubicBezTo>
                <a:cubicBezTo>
                  <a:pt x="336042" y="1793621"/>
                  <a:pt x="345664" y="1801383"/>
                  <a:pt x="355600" y="1808480"/>
                </a:cubicBezTo>
                <a:cubicBezTo>
                  <a:pt x="369379" y="1818322"/>
                  <a:pt x="381094" y="1831387"/>
                  <a:pt x="396240" y="1838960"/>
                </a:cubicBezTo>
                <a:cubicBezTo>
                  <a:pt x="408729" y="1845205"/>
                  <a:pt x="423333" y="1845733"/>
                  <a:pt x="436880" y="1849120"/>
                </a:cubicBezTo>
                <a:cubicBezTo>
                  <a:pt x="453813" y="1862667"/>
                  <a:pt x="469085" y="1878603"/>
                  <a:pt x="487680" y="1889760"/>
                </a:cubicBezTo>
                <a:cubicBezTo>
                  <a:pt x="515008" y="1906157"/>
                  <a:pt x="548685" y="1912631"/>
                  <a:pt x="579120" y="1920240"/>
                </a:cubicBezTo>
                <a:cubicBezTo>
                  <a:pt x="650240" y="1916853"/>
                  <a:pt x="721525" y="1915993"/>
                  <a:pt x="792480" y="1910080"/>
                </a:cubicBezTo>
                <a:cubicBezTo>
                  <a:pt x="803153" y="1909191"/>
                  <a:pt x="812458" y="1902020"/>
                  <a:pt x="822960" y="1899920"/>
                </a:cubicBezTo>
                <a:cubicBezTo>
                  <a:pt x="858573" y="1892797"/>
                  <a:pt x="908530" y="1890505"/>
                  <a:pt x="944880" y="1879600"/>
                </a:cubicBezTo>
                <a:cubicBezTo>
                  <a:pt x="962349" y="1874359"/>
                  <a:pt x="978378" y="1865047"/>
                  <a:pt x="995680" y="1859280"/>
                </a:cubicBezTo>
                <a:cubicBezTo>
                  <a:pt x="1008927" y="1854864"/>
                  <a:pt x="1022894" y="1852956"/>
                  <a:pt x="1036320" y="1849120"/>
                </a:cubicBezTo>
                <a:cubicBezTo>
                  <a:pt x="1046618" y="1846178"/>
                  <a:pt x="1056184" y="1840375"/>
                  <a:pt x="1066800" y="1838960"/>
                </a:cubicBezTo>
                <a:cubicBezTo>
                  <a:pt x="1107223" y="1833570"/>
                  <a:pt x="1148189" y="1833303"/>
                  <a:pt x="1188720" y="1828800"/>
                </a:cubicBezTo>
                <a:cubicBezTo>
                  <a:pt x="1233560" y="1823818"/>
                  <a:pt x="1249958" y="1818571"/>
                  <a:pt x="1290320" y="1808480"/>
                </a:cubicBezTo>
                <a:cubicBezTo>
                  <a:pt x="1300480" y="1811867"/>
                  <a:pt x="1312437" y="1811950"/>
                  <a:pt x="1320800" y="1818640"/>
                </a:cubicBezTo>
                <a:cubicBezTo>
                  <a:pt x="1330335" y="1826268"/>
                  <a:pt x="1332486" y="1840486"/>
                  <a:pt x="1341120" y="1849120"/>
                </a:cubicBezTo>
                <a:cubicBezTo>
                  <a:pt x="1349754" y="1857754"/>
                  <a:pt x="1361440" y="1862667"/>
                  <a:pt x="1371600" y="1869440"/>
                </a:cubicBezTo>
                <a:cubicBezTo>
                  <a:pt x="1385147" y="1889760"/>
                  <a:pt x="1404517" y="1907232"/>
                  <a:pt x="1412240" y="1930400"/>
                </a:cubicBezTo>
                <a:cubicBezTo>
                  <a:pt x="1415627" y="1940560"/>
                  <a:pt x="1419458" y="1950582"/>
                  <a:pt x="1422400" y="1960880"/>
                </a:cubicBezTo>
                <a:cubicBezTo>
                  <a:pt x="1426236" y="1974306"/>
                  <a:pt x="1427657" y="1988445"/>
                  <a:pt x="1432560" y="2001520"/>
                </a:cubicBezTo>
                <a:cubicBezTo>
                  <a:pt x="1437878" y="2015701"/>
                  <a:pt x="1446914" y="2028239"/>
                  <a:pt x="1452880" y="2042160"/>
                </a:cubicBezTo>
                <a:cubicBezTo>
                  <a:pt x="1457099" y="2052004"/>
                  <a:pt x="1460443" y="2062250"/>
                  <a:pt x="1463040" y="2072640"/>
                </a:cubicBezTo>
                <a:cubicBezTo>
                  <a:pt x="1467228" y="2089393"/>
                  <a:pt x="1460989" y="2111229"/>
                  <a:pt x="1473200" y="2123440"/>
                </a:cubicBezTo>
                <a:cubicBezTo>
                  <a:pt x="1488346" y="2138586"/>
                  <a:pt x="1516338" y="2131879"/>
                  <a:pt x="1534160" y="2143760"/>
                </a:cubicBezTo>
                <a:lnTo>
                  <a:pt x="1564640" y="2164080"/>
                </a:lnTo>
                <a:cubicBezTo>
                  <a:pt x="1568027" y="2174240"/>
                  <a:pt x="1568859" y="2185649"/>
                  <a:pt x="1574800" y="2194560"/>
                </a:cubicBezTo>
                <a:cubicBezTo>
                  <a:pt x="1582770" y="2206515"/>
                  <a:pt x="1602591" y="2210925"/>
                  <a:pt x="1605280" y="2225040"/>
                </a:cubicBezTo>
                <a:cubicBezTo>
                  <a:pt x="1630166" y="2355690"/>
                  <a:pt x="1578764" y="2370004"/>
                  <a:pt x="1635760" y="2438400"/>
                </a:cubicBezTo>
                <a:cubicBezTo>
                  <a:pt x="1644958" y="2449438"/>
                  <a:pt x="1656080" y="2458720"/>
                  <a:pt x="1666240" y="2468880"/>
                </a:cubicBezTo>
                <a:cubicBezTo>
                  <a:pt x="1689301" y="2538064"/>
                  <a:pt x="1660274" y="2452970"/>
                  <a:pt x="1696720" y="2550160"/>
                </a:cubicBezTo>
                <a:cubicBezTo>
                  <a:pt x="1700480" y="2560188"/>
                  <a:pt x="1703120" y="2570612"/>
                  <a:pt x="1706880" y="2580640"/>
                </a:cubicBezTo>
                <a:cubicBezTo>
                  <a:pt x="1713284" y="2597717"/>
                  <a:pt x="1720427" y="2614507"/>
                  <a:pt x="1727200" y="2631440"/>
                </a:cubicBezTo>
                <a:cubicBezTo>
                  <a:pt x="1730587" y="2651760"/>
                  <a:pt x="1727139" y="2674514"/>
                  <a:pt x="1737360" y="2692400"/>
                </a:cubicBezTo>
                <a:cubicBezTo>
                  <a:pt x="1742673" y="2701699"/>
                  <a:pt x="1757450" y="2699963"/>
                  <a:pt x="1767840" y="2702560"/>
                </a:cubicBezTo>
                <a:cubicBezTo>
                  <a:pt x="1784593" y="2706748"/>
                  <a:pt x="1801887" y="2708532"/>
                  <a:pt x="1818640" y="2712720"/>
                </a:cubicBezTo>
                <a:cubicBezTo>
                  <a:pt x="1829030" y="2715317"/>
                  <a:pt x="1838730" y="2720283"/>
                  <a:pt x="1849120" y="2722880"/>
                </a:cubicBezTo>
                <a:cubicBezTo>
                  <a:pt x="1879411" y="2730453"/>
                  <a:pt x="1910080" y="2736427"/>
                  <a:pt x="1940560" y="2743200"/>
                </a:cubicBezTo>
                <a:cubicBezTo>
                  <a:pt x="2044459" y="2812466"/>
                  <a:pt x="1872710" y="2700990"/>
                  <a:pt x="2021840" y="2783840"/>
                </a:cubicBezTo>
                <a:cubicBezTo>
                  <a:pt x="2036642" y="2792064"/>
                  <a:pt x="2048608" y="2804609"/>
                  <a:pt x="2062480" y="2814320"/>
                </a:cubicBezTo>
                <a:cubicBezTo>
                  <a:pt x="2082487" y="2828325"/>
                  <a:pt x="2123440" y="2854960"/>
                  <a:pt x="2123440" y="2854960"/>
                </a:cubicBezTo>
                <a:cubicBezTo>
                  <a:pt x="2175701" y="2823603"/>
                  <a:pt x="2183406" y="2824566"/>
                  <a:pt x="2225040" y="2773680"/>
                </a:cubicBezTo>
                <a:cubicBezTo>
                  <a:pt x="2240505" y="2754779"/>
                  <a:pt x="2250424" y="2731790"/>
                  <a:pt x="2265680" y="2712720"/>
                </a:cubicBezTo>
                <a:cubicBezTo>
                  <a:pt x="2290153" y="2682129"/>
                  <a:pt x="2307646" y="2656429"/>
                  <a:pt x="2336800" y="2631440"/>
                </a:cubicBezTo>
                <a:cubicBezTo>
                  <a:pt x="2373730" y="2599786"/>
                  <a:pt x="2376450" y="2601455"/>
                  <a:pt x="2418080" y="2580640"/>
                </a:cubicBezTo>
                <a:cubicBezTo>
                  <a:pt x="2428240" y="2567093"/>
                  <a:pt x="2438718" y="2553779"/>
                  <a:pt x="2448560" y="2540000"/>
                </a:cubicBezTo>
                <a:cubicBezTo>
                  <a:pt x="2472189" y="2506920"/>
                  <a:pt x="2471728" y="2497224"/>
                  <a:pt x="2509520" y="2468880"/>
                </a:cubicBezTo>
                <a:cubicBezTo>
                  <a:pt x="2521637" y="2459793"/>
                  <a:pt x="2537835" y="2457363"/>
                  <a:pt x="2550160" y="2448560"/>
                </a:cubicBezTo>
                <a:cubicBezTo>
                  <a:pt x="2561852" y="2440209"/>
                  <a:pt x="2568685" y="2426050"/>
                  <a:pt x="2580640" y="2418080"/>
                </a:cubicBezTo>
                <a:cubicBezTo>
                  <a:pt x="2589551" y="2412139"/>
                  <a:pt x="2601541" y="2412709"/>
                  <a:pt x="2611120" y="2407920"/>
                </a:cubicBezTo>
                <a:cubicBezTo>
                  <a:pt x="2622042" y="2402459"/>
                  <a:pt x="2630678" y="2393061"/>
                  <a:pt x="2641600" y="2387600"/>
                </a:cubicBezTo>
                <a:cubicBezTo>
                  <a:pt x="2651179" y="2382811"/>
                  <a:pt x="2662718" y="2382641"/>
                  <a:pt x="2672080" y="2377440"/>
                </a:cubicBezTo>
                <a:cubicBezTo>
                  <a:pt x="2693428" y="2365580"/>
                  <a:pt x="2709872" y="2344523"/>
                  <a:pt x="2733040" y="2336800"/>
                </a:cubicBezTo>
                <a:cubicBezTo>
                  <a:pt x="2773601" y="2323280"/>
                  <a:pt x="2833352" y="2305351"/>
                  <a:pt x="2875280" y="2286000"/>
                </a:cubicBezTo>
                <a:cubicBezTo>
                  <a:pt x="2902783" y="2273306"/>
                  <a:pt x="2935141" y="2266779"/>
                  <a:pt x="2956560" y="2245360"/>
                </a:cubicBezTo>
                <a:cubicBezTo>
                  <a:pt x="2979030" y="2222890"/>
                  <a:pt x="2989230" y="2208705"/>
                  <a:pt x="3017520" y="2194560"/>
                </a:cubicBezTo>
                <a:cubicBezTo>
                  <a:pt x="3027099" y="2189771"/>
                  <a:pt x="3037840" y="2187787"/>
                  <a:pt x="3048000" y="2184400"/>
                </a:cubicBezTo>
                <a:cubicBezTo>
                  <a:pt x="3058160" y="2174240"/>
                  <a:pt x="3067571" y="2163271"/>
                  <a:pt x="3078480" y="2153920"/>
                </a:cubicBezTo>
                <a:cubicBezTo>
                  <a:pt x="3104808" y="2131354"/>
                  <a:pt x="3153849" y="2100287"/>
                  <a:pt x="3180080" y="2082800"/>
                </a:cubicBezTo>
                <a:lnTo>
                  <a:pt x="3210560" y="2062480"/>
                </a:lnTo>
                <a:cubicBezTo>
                  <a:pt x="3234987" y="1964772"/>
                  <a:pt x="3214124" y="2003542"/>
                  <a:pt x="3261360" y="1940560"/>
                </a:cubicBezTo>
                <a:cubicBezTo>
                  <a:pt x="3264747" y="1930400"/>
                  <a:pt x="3264664" y="1918307"/>
                  <a:pt x="3271520" y="1910080"/>
                </a:cubicBezTo>
                <a:cubicBezTo>
                  <a:pt x="3282360" y="1897071"/>
                  <a:pt x="3304051" y="1894466"/>
                  <a:pt x="3312160" y="1879600"/>
                </a:cubicBezTo>
                <a:cubicBezTo>
                  <a:pt x="3325533" y="1855083"/>
                  <a:pt x="3319991" y="1823299"/>
                  <a:pt x="3332480" y="1798320"/>
                </a:cubicBezTo>
                <a:cubicBezTo>
                  <a:pt x="3357589" y="1748101"/>
                  <a:pt x="3348011" y="1772048"/>
                  <a:pt x="3362960" y="1727200"/>
                </a:cubicBezTo>
                <a:cubicBezTo>
                  <a:pt x="3339959" y="1635198"/>
                  <a:pt x="3373461" y="1714585"/>
                  <a:pt x="3220720" y="1676400"/>
                </a:cubicBezTo>
                <a:cubicBezTo>
                  <a:pt x="3206781" y="1672915"/>
                  <a:pt x="3200400" y="1656080"/>
                  <a:pt x="3190240" y="1645920"/>
                </a:cubicBezTo>
                <a:cubicBezTo>
                  <a:pt x="3186853" y="1635760"/>
                  <a:pt x="3182180" y="1625942"/>
                  <a:pt x="3180080" y="1615440"/>
                </a:cubicBezTo>
                <a:cubicBezTo>
                  <a:pt x="3175384" y="1591958"/>
                  <a:pt x="3177974" y="1566872"/>
                  <a:pt x="3169920" y="1544320"/>
                </a:cubicBezTo>
                <a:cubicBezTo>
                  <a:pt x="3149092" y="1486001"/>
                  <a:pt x="3108589" y="1454771"/>
                  <a:pt x="3078480" y="1402080"/>
                </a:cubicBezTo>
                <a:cubicBezTo>
                  <a:pt x="3065684" y="1379686"/>
                  <a:pt x="3069460" y="1345267"/>
                  <a:pt x="3048000" y="1330960"/>
                </a:cubicBezTo>
                <a:cubicBezTo>
                  <a:pt x="3022483" y="1313949"/>
                  <a:pt x="2987040" y="1324187"/>
                  <a:pt x="2956560" y="1320800"/>
                </a:cubicBezTo>
                <a:cubicBezTo>
                  <a:pt x="2905095" y="1295067"/>
                  <a:pt x="2819547" y="1254907"/>
                  <a:pt x="2783840" y="1219200"/>
                </a:cubicBezTo>
                <a:cubicBezTo>
                  <a:pt x="2756747" y="1192107"/>
                  <a:pt x="2723814" y="1169801"/>
                  <a:pt x="2702560" y="1137920"/>
                </a:cubicBezTo>
                <a:lnTo>
                  <a:pt x="2661920" y="1076960"/>
                </a:lnTo>
                <a:lnTo>
                  <a:pt x="2641600" y="1046480"/>
                </a:lnTo>
                <a:cubicBezTo>
                  <a:pt x="2621280" y="1056640"/>
                  <a:pt x="2593242" y="1095863"/>
                  <a:pt x="2580640" y="1076960"/>
                </a:cubicBezTo>
                <a:cubicBezTo>
                  <a:pt x="2552163" y="1034244"/>
                  <a:pt x="2634239" y="938930"/>
                  <a:pt x="2651760" y="914400"/>
                </a:cubicBezTo>
                <a:cubicBezTo>
                  <a:pt x="2658533" y="883920"/>
                  <a:pt x="2665059" y="853384"/>
                  <a:pt x="2672080" y="822960"/>
                </a:cubicBezTo>
                <a:cubicBezTo>
                  <a:pt x="2675220" y="809354"/>
                  <a:pt x="2680117" y="796121"/>
                  <a:pt x="2682240" y="782320"/>
                </a:cubicBezTo>
                <a:cubicBezTo>
                  <a:pt x="2700807" y="661637"/>
                  <a:pt x="2675645" y="722103"/>
                  <a:pt x="2722880" y="619760"/>
                </a:cubicBezTo>
                <a:cubicBezTo>
                  <a:pt x="2732400" y="599133"/>
                  <a:pt x="2738400" y="575897"/>
                  <a:pt x="2753360" y="558800"/>
                </a:cubicBezTo>
                <a:cubicBezTo>
                  <a:pt x="2763333" y="547402"/>
                  <a:pt x="2781398" y="546881"/>
                  <a:pt x="2794000" y="538480"/>
                </a:cubicBezTo>
                <a:cubicBezTo>
                  <a:pt x="2832327" y="512928"/>
                  <a:pt x="2869790" y="485976"/>
                  <a:pt x="2905760" y="457200"/>
                </a:cubicBezTo>
                <a:cubicBezTo>
                  <a:pt x="2939627" y="430107"/>
                  <a:pt x="2971496" y="400308"/>
                  <a:pt x="3007360" y="375920"/>
                </a:cubicBezTo>
                <a:cubicBezTo>
                  <a:pt x="3148261" y="280107"/>
                  <a:pt x="3141676" y="293682"/>
                  <a:pt x="3281680" y="233680"/>
                </a:cubicBezTo>
                <a:cubicBezTo>
                  <a:pt x="3323447" y="215780"/>
                  <a:pt x="3461001" y="152252"/>
                  <a:pt x="3495040" y="142240"/>
                </a:cubicBezTo>
                <a:cubicBezTo>
                  <a:pt x="3552613" y="125307"/>
                  <a:pt x="3609863" y="107230"/>
                  <a:pt x="3667760" y="91440"/>
                </a:cubicBezTo>
                <a:cubicBezTo>
                  <a:pt x="3731436" y="74074"/>
                  <a:pt x="3867303" y="38789"/>
                  <a:pt x="3942080" y="30480"/>
                </a:cubicBezTo>
                <a:cubicBezTo>
                  <a:pt x="3996040" y="24484"/>
                  <a:pt x="4050521" y="24650"/>
                  <a:pt x="4104640" y="20320"/>
                </a:cubicBezTo>
                <a:cubicBezTo>
                  <a:pt x="4141238" y="17392"/>
                  <a:pt x="4238638" y="4840"/>
                  <a:pt x="4277360" y="0"/>
                </a:cubicBezTo>
                <a:cubicBezTo>
                  <a:pt x="4369765" y="9240"/>
                  <a:pt x="4364811" y="-12915"/>
                  <a:pt x="4409440" y="40640"/>
                </a:cubicBezTo>
                <a:cubicBezTo>
                  <a:pt x="4417257" y="50021"/>
                  <a:pt x="4422987" y="60960"/>
                  <a:pt x="4429760" y="71120"/>
                </a:cubicBezTo>
                <a:cubicBezTo>
                  <a:pt x="4433147" y="111760"/>
                  <a:pt x="4434862" y="152574"/>
                  <a:pt x="4439920" y="193040"/>
                </a:cubicBezTo>
                <a:cubicBezTo>
                  <a:pt x="4441652" y="206896"/>
                  <a:pt x="4447051" y="220049"/>
                  <a:pt x="4450080" y="233680"/>
                </a:cubicBezTo>
                <a:cubicBezTo>
                  <a:pt x="4453826" y="250537"/>
                  <a:pt x="4456853" y="267547"/>
                  <a:pt x="4460240" y="284480"/>
                </a:cubicBezTo>
                <a:cubicBezTo>
                  <a:pt x="4452690" y="533620"/>
                  <a:pt x="4511776" y="537468"/>
                  <a:pt x="4429760" y="650240"/>
                </a:cubicBezTo>
                <a:cubicBezTo>
                  <a:pt x="4409841" y="677629"/>
                  <a:pt x="4397840" y="714096"/>
                  <a:pt x="4368800" y="731520"/>
                </a:cubicBezTo>
                <a:lnTo>
                  <a:pt x="4318000" y="762000"/>
                </a:lnTo>
                <a:cubicBezTo>
                  <a:pt x="4311227" y="772160"/>
                  <a:pt x="4301967" y="781047"/>
                  <a:pt x="4297680" y="792480"/>
                </a:cubicBezTo>
                <a:cubicBezTo>
                  <a:pt x="4291617" y="808649"/>
                  <a:pt x="4291708" y="826527"/>
                  <a:pt x="4287520" y="843280"/>
                </a:cubicBezTo>
                <a:cubicBezTo>
                  <a:pt x="4284923" y="853670"/>
                  <a:pt x="4280302" y="863462"/>
                  <a:pt x="4277360" y="873760"/>
                </a:cubicBezTo>
                <a:cubicBezTo>
                  <a:pt x="4273524" y="887186"/>
                  <a:pt x="4274128" y="902276"/>
                  <a:pt x="4267200" y="914400"/>
                </a:cubicBezTo>
                <a:cubicBezTo>
                  <a:pt x="4244088" y="954846"/>
                  <a:pt x="4239215" y="938553"/>
                  <a:pt x="4206240" y="955040"/>
                </a:cubicBezTo>
                <a:cubicBezTo>
                  <a:pt x="4195318" y="960501"/>
                  <a:pt x="4185696" y="968263"/>
                  <a:pt x="4175760" y="975360"/>
                </a:cubicBezTo>
                <a:cubicBezTo>
                  <a:pt x="4161981" y="985202"/>
                  <a:pt x="4150495" y="998744"/>
                  <a:pt x="4135120" y="1005840"/>
                </a:cubicBezTo>
                <a:cubicBezTo>
                  <a:pt x="4105948" y="1019304"/>
                  <a:pt x="4070413" y="1018498"/>
                  <a:pt x="4043680" y="1036320"/>
                </a:cubicBezTo>
                <a:cubicBezTo>
                  <a:pt x="4023360" y="1049867"/>
                  <a:pt x="3999989" y="1059691"/>
                  <a:pt x="3982720" y="1076960"/>
                </a:cubicBezTo>
                <a:cubicBezTo>
                  <a:pt x="3969173" y="1090507"/>
                  <a:pt x="3954548" y="1103054"/>
                  <a:pt x="3942080" y="1117600"/>
                </a:cubicBezTo>
                <a:cubicBezTo>
                  <a:pt x="3934133" y="1126871"/>
                  <a:pt x="3930394" y="1139446"/>
                  <a:pt x="3921760" y="1148080"/>
                </a:cubicBezTo>
                <a:cubicBezTo>
                  <a:pt x="3913126" y="1156714"/>
                  <a:pt x="3901882" y="1162342"/>
                  <a:pt x="3891280" y="1168400"/>
                </a:cubicBezTo>
                <a:cubicBezTo>
                  <a:pt x="3867598" y="1181933"/>
                  <a:pt x="3838184" y="1197062"/>
                  <a:pt x="3810000" y="1198880"/>
                </a:cubicBezTo>
                <a:cubicBezTo>
                  <a:pt x="3718687" y="1204771"/>
                  <a:pt x="3627120" y="1205653"/>
                  <a:pt x="3535680" y="1209040"/>
                </a:cubicBezTo>
                <a:cubicBezTo>
                  <a:pt x="3525520" y="1212427"/>
                  <a:pt x="3513563" y="1212510"/>
                  <a:pt x="3505200" y="1219200"/>
                </a:cubicBezTo>
                <a:cubicBezTo>
                  <a:pt x="3473719" y="1244384"/>
                  <a:pt x="3486438" y="1275486"/>
                  <a:pt x="3474720" y="1310640"/>
                </a:cubicBezTo>
                <a:cubicBezTo>
                  <a:pt x="3470859" y="1322224"/>
                  <a:pt x="3461173" y="1330960"/>
                  <a:pt x="3454400" y="1341120"/>
                </a:cubicBezTo>
                <a:cubicBezTo>
                  <a:pt x="3451013" y="1405467"/>
                  <a:pt x="3449378" y="1469929"/>
                  <a:pt x="3444240" y="1534160"/>
                </a:cubicBezTo>
                <a:cubicBezTo>
                  <a:pt x="3434962" y="1650132"/>
                  <a:pt x="3422986" y="1537783"/>
                  <a:pt x="3444240" y="1686560"/>
                </a:cubicBezTo>
                <a:cubicBezTo>
                  <a:pt x="3446682" y="1703655"/>
                  <a:pt x="3441404" y="1725988"/>
                  <a:pt x="3454400" y="1737360"/>
                </a:cubicBezTo>
                <a:cubicBezTo>
                  <a:pt x="3472955" y="1753596"/>
                  <a:pt x="3501813" y="1750907"/>
                  <a:pt x="3525520" y="1757680"/>
                </a:cubicBezTo>
                <a:cubicBezTo>
                  <a:pt x="3539067" y="1771227"/>
                  <a:pt x="3551614" y="1785852"/>
                  <a:pt x="3566160" y="1798320"/>
                </a:cubicBezTo>
                <a:cubicBezTo>
                  <a:pt x="3575431" y="1806267"/>
                  <a:pt x="3589543" y="1808704"/>
                  <a:pt x="3596640" y="1818640"/>
                </a:cubicBezTo>
                <a:cubicBezTo>
                  <a:pt x="3628123" y="1862716"/>
                  <a:pt x="3604205" y="1870390"/>
                  <a:pt x="3637280" y="1910080"/>
                </a:cubicBezTo>
                <a:cubicBezTo>
                  <a:pt x="3645097" y="1919461"/>
                  <a:pt x="3656537" y="1925590"/>
                  <a:pt x="3667760" y="1930400"/>
                </a:cubicBezTo>
                <a:cubicBezTo>
                  <a:pt x="3680595" y="1935901"/>
                  <a:pt x="3694853" y="1937173"/>
                  <a:pt x="3708400" y="1940560"/>
                </a:cubicBezTo>
                <a:cubicBezTo>
                  <a:pt x="3731624" y="2010233"/>
                  <a:pt x="3704199" y="1923757"/>
                  <a:pt x="3728720" y="2021840"/>
                </a:cubicBezTo>
                <a:cubicBezTo>
                  <a:pt x="3731317" y="2032230"/>
                  <a:pt x="3736283" y="2041930"/>
                  <a:pt x="3738880" y="2052320"/>
                </a:cubicBezTo>
                <a:cubicBezTo>
                  <a:pt x="3743068" y="2069073"/>
                  <a:pt x="3744852" y="2086367"/>
                  <a:pt x="3749040" y="2103120"/>
                </a:cubicBezTo>
                <a:cubicBezTo>
                  <a:pt x="3751637" y="2113510"/>
                  <a:pt x="3753999" y="2124238"/>
                  <a:pt x="3759200" y="2133600"/>
                </a:cubicBezTo>
                <a:cubicBezTo>
                  <a:pt x="3771060" y="2154948"/>
                  <a:pt x="3799840" y="2194560"/>
                  <a:pt x="3799840" y="2194560"/>
                </a:cubicBezTo>
                <a:cubicBezTo>
                  <a:pt x="3803227" y="2245360"/>
                  <a:pt x="3798955" y="2297260"/>
                  <a:pt x="3810000" y="2346960"/>
                </a:cubicBezTo>
                <a:cubicBezTo>
                  <a:pt x="3813117" y="2360986"/>
                  <a:pt x="3831129" y="2366531"/>
                  <a:pt x="3840480" y="2377440"/>
                </a:cubicBezTo>
                <a:cubicBezTo>
                  <a:pt x="3859383" y="2399494"/>
                  <a:pt x="3875198" y="2424438"/>
                  <a:pt x="3891280" y="2448560"/>
                </a:cubicBezTo>
                <a:cubicBezTo>
                  <a:pt x="3894667" y="2462107"/>
                  <a:pt x="3895195" y="2476711"/>
                  <a:pt x="3901440" y="2489200"/>
                </a:cubicBezTo>
                <a:cubicBezTo>
                  <a:pt x="3909013" y="2504346"/>
                  <a:pt x="3920900" y="2516983"/>
                  <a:pt x="3931920" y="2529840"/>
                </a:cubicBezTo>
                <a:cubicBezTo>
                  <a:pt x="3962834" y="2565907"/>
                  <a:pt x="3985788" y="2579264"/>
                  <a:pt x="4033520" y="2600960"/>
                </a:cubicBezTo>
                <a:cubicBezTo>
                  <a:pt x="4046232" y="2606738"/>
                  <a:pt x="4060913" y="2606704"/>
                  <a:pt x="4074160" y="2611120"/>
                </a:cubicBezTo>
                <a:cubicBezTo>
                  <a:pt x="4091462" y="2616887"/>
                  <a:pt x="4107658" y="2625673"/>
                  <a:pt x="4124960" y="2631440"/>
                </a:cubicBezTo>
                <a:cubicBezTo>
                  <a:pt x="4138207" y="2635856"/>
                  <a:pt x="4152525" y="2636697"/>
                  <a:pt x="4165600" y="2641600"/>
                </a:cubicBezTo>
                <a:cubicBezTo>
                  <a:pt x="4179781" y="2646918"/>
                  <a:pt x="4193090" y="2654406"/>
                  <a:pt x="4206240" y="2661920"/>
                </a:cubicBezTo>
                <a:cubicBezTo>
                  <a:pt x="4216842" y="2667978"/>
                  <a:pt x="4225287" y="2677953"/>
                  <a:pt x="4236720" y="2682240"/>
                </a:cubicBezTo>
                <a:cubicBezTo>
                  <a:pt x="4252889" y="2688303"/>
                  <a:pt x="4270346" y="2690592"/>
                  <a:pt x="4287520" y="2692400"/>
                </a:cubicBezTo>
                <a:cubicBezTo>
                  <a:pt x="4334793" y="2697376"/>
                  <a:pt x="4382440" y="2698053"/>
                  <a:pt x="4429760" y="2702560"/>
                </a:cubicBezTo>
                <a:cubicBezTo>
                  <a:pt x="4453599" y="2704830"/>
                  <a:pt x="4477143" y="2709555"/>
                  <a:pt x="4500880" y="2712720"/>
                </a:cubicBezTo>
                <a:lnTo>
                  <a:pt x="4582160" y="2722880"/>
                </a:lnTo>
                <a:cubicBezTo>
                  <a:pt x="4605867" y="2729653"/>
                  <a:pt x="4629361" y="2737220"/>
                  <a:pt x="4653280" y="2743200"/>
                </a:cubicBezTo>
                <a:cubicBezTo>
                  <a:pt x="4670033" y="2747388"/>
                  <a:pt x="4687911" y="2747297"/>
                  <a:pt x="4704080" y="2753360"/>
                </a:cubicBezTo>
                <a:cubicBezTo>
                  <a:pt x="4715513" y="2757647"/>
                  <a:pt x="4722586" y="2771285"/>
                  <a:pt x="4734560" y="2773680"/>
                </a:cubicBezTo>
                <a:cubicBezTo>
                  <a:pt x="4791405" y="2785049"/>
                  <a:pt x="4849707" y="2787227"/>
                  <a:pt x="4907280" y="2794000"/>
                </a:cubicBezTo>
                <a:cubicBezTo>
                  <a:pt x="4966355" y="2823538"/>
                  <a:pt x="4994688" y="2830608"/>
                  <a:pt x="5039360" y="2875280"/>
                </a:cubicBezTo>
                <a:cubicBezTo>
                  <a:pt x="5072967" y="2908887"/>
                  <a:pt x="5071299" y="2928025"/>
                  <a:pt x="5100320" y="2966720"/>
                </a:cubicBezTo>
                <a:cubicBezTo>
                  <a:pt x="5108941" y="2978215"/>
                  <a:pt x="5120640" y="2987040"/>
                  <a:pt x="5130800" y="2997200"/>
                </a:cubicBezTo>
                <a:cubicBezTo>
                  <a:pt x="5169969" y="3134292"/>
                  <a:pt x="5121642" y="3048191"/>
                  <a:pt x="5334000" y="3088640"/>
                </a:cubicBezTo>
                <a:cubicBezTo>
                  <a:pt x="5345995" y="3090925"/>
                  <a:pt x="5353257" y="3104150"/>
                  <a:pt x="5364480" y="3108960"/>
                </a:cubicBezTo>
                <a:cubicBezTo>
                  <a:pt x="5377315" y="3114461"/>
                  <a:pt x="5391573" y="3115733"/>
                  <a:pt x="5405120" y="3119120"/>
                </a:cubicBezTo>
                <a:cubicBezTo>
                  <a:pt x="5415280" y="3129280"/>
                  <a:pt x="5422519" y="3155546"/>
                  <a:pt x="5435600" y="3149600"/>
                </a:cubicBezTo>
                <a:cubicBezTo>
                  <a:pt x="5470481" y="3133745"/>
                  <a:pt x="5487445" y="3092849"/>
                  <a:pt x="5516880" y="3068320"/>
                </a:cubicBezTo>
                <a:cubicBezTo>
                  <a:pt x="5662039" y="2947354"/>
                  <a:pt x="5499562" y="3085869"/>
                  <a:pt x="5628640" y="2966720"/>
                </a:cubicBezTo>
                <a:cubicBezTo>
                  <a:pt x="5747076" y="2857394"/>
                  <a:pt x="5668299" y="2931918"/>
                  <a:pt x="5781040" y="2844800"/>
                </a:cubicBezTo>
                <a:cubicBezTo>
                  <a:pt x="5996755" y="2678111"/>
                  <a:pt x="5854883" y="2761572"/>
                  <a:pt x="6024880" y="2682240"/>
                </a:cubicBezTo>
                <a:cubicBezTo>
                  <a:pt x="6045467" y="2672633"/>
                  <a:pt x="6065158" y="2661161"/>
                  <a:pt x="6085840" y="2651760"/>
                </a:cubicBezTo>
                <a:cubicBezTo>
                  <a:pt x="6102443" y="2644213"/>
                  <a:pt x="6120328" y="2639596"/>
                  <a:pt x="6136640" y="2631440"/>
                </a:cubicBezTo>
                <a:cubicBezTo>
                  <a:pt x="6147562" y="2625979"/>
                  <a:pt x="6155687" y="2615407"/>
                  <a:pt x="6167120" y="2611120"/>
                </a:cubicBezTo>
                <a:cubicBezTo>
                  <a:pt x="6183289" y="2605057"/>
                  <a:pt x="6200987" y="2604347"/>
                  <a:pt x="6217920" y="2600960"/>
                </a:cubicBezTo>
                <a:cubicBezTo>
                  <a:pt x="6261947" y="2604347"/>
                  <a:pt x="6306184" y="2605643"/>
                  <a:pt x="6350000" y="2611120"/>
                </a:cubicBezTo>
                <a:cubicBezTo>
                  <a:pt x="6360627" y="2612448"/>
                  <a:pt x="6369836" y="2620097"/>
                  <a:pt x="6380480" y="2621280"/>
                </a:cubicBezTo>
                <a:cubicBezTo>
                  <a:pt x="6431081" y="2626902"/>
                  <a:pt x="6482080" y="2628053"/>
                  <a:pt x="6532880" y="2631440"/>
                </a:cubicBezTo>
                <a:cubicBezTo>
                  <a:pt x="6536267" y="2641600"/>
                  <a:pt x="6540098" y="2651622"/>
                  <a:pt x="6543040" y="2661920"/>
                </a:cubicBezTo>
                <a:cubicBezTo>
                  <a:pt x="6546876" y="2675346"/>
                  <a:pt x="6544477" y="2691656"/>
                  <a:pt x="6553200" y="2702560"/>
                </a:cubicBezTo>
                <a:cubicBezTo>
                  <a:pt x="6559890" y="2710923"/>
                  <a:pt x="6573382" y="2709778"/>
                  <a:pt x="6583680" y="2712720"/>
                </a:cubicBezTo>
                <a:cubicBezTo>
                  <a:pt x="6639674" y="2728718"/>
                  <a:pt x="6642064" y="2724852"/>
                  <a:pt x="6715760" y="2733040"/>
                </a:cubicBezTo>
                <a:cubicBezTo>
                  <a:pt x="6722533" y="2743200"/>
                  <a:pt x="6726545" y="2755892"/>
                  <a:pt x="6736080" y="2763520"/>
                </a:cubicBezTo>
                <a:cubicBezTo>
                  <a:pt x="6742705" y="2768820"/>
                  <a:pt x="6804545" y="2783176"/>
                  <a:pt x="6807200" y="2783840"/>
                </a:cubicBezTo>
                <a:cubicBezTo>
                  <a:pt x="6813973" y="2794000"/>
                  <a:pt x="6817985" y="2806692"/>
                  <a:pt x="6827520" y="2814320"/>
                </a:cubicBezTo>
                <a:cubicBezTo>
                  <a:pt x="6835883" y="2821010"/>
                  <a:pt x="6847498" y="2822380"/>
                  <a:pt x="6858000" y="2824480"/>
                </a:cubicBezTo>
                <a:cubicBezTo>
                  <a:pt x="6881482" y="2829176"/>
                  <a:pt x="6905451" y="2830999"/>
                  <a:pt x="6929120" y="2834640"/>
                </a:cubicBezTo>
                <a:cubicBezTo>
                  <a:pt x="7112380" y="2862834"/>
                  <a:pt x="6854975" y="2825499"/>
                  <a:pt x="7061200" y="2854960"/>
                </a:cubicBezTo>
                <a:cubicBezTo>
                  <a:pt x="7094949" y="2871835"/>
                  <a:pt x="7103599" y="2874059"/>
                  <a:pt x="7132320" y="2895600"/>
                </a:cubicBezTo>
                <a:cubicBezTo>
                  <a:pt x="7136152" y="2898474"/>
                  <a:pt x="7139093" y="2902373"/>
                  <a:pt x="7142480" y="290576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2"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Decision Boundary Perspective…</a:t>
            </a:r>
          </a:p>
        </p:txBody>
      </p:sp>
      <p:pic>
        <p:nvPicPr>
          <p:cNvPr id="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503391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Content Placeholder 3"/>
          <p:cNvSpPr>
            <a:spLocks noGrp="1"/>
          </p:cNvSpPr>
          <p:nvPr>
            <p:ph idx="1"/>
          </p:nvPr>
        </p:nvSpPr>
        <p:spPr>
          <a:xfrm>
            <a:off x="2207720" y="1253185"/>
            <a:ext cx="7927128" cy="879976"/>
          </a:xfrm>
        </p:spPr>
        <p:txBody>
          <a:bodyPr/>
          <a:lstStyle/>
          <a:p>
            <a:pPr marL="0" indent="0">
              <a:buNone/>
            </a:pPr>
            <a:r>
              <a:rPr lang="en-GB" altLang="en-US" sz="2448" dirty="0"/>
              <a:t>If </a:t>
            </a:r>
            <a:r>
              <a:rPr lang="en-GB" altLang="en-US" sz="2448" i="1" dirty="0"/>
              <a:t>f</a:t>
            </a:r>
            <a:r>
              <a:rPr lang="en-GB" altLang="en-US" sz="2448" dirty="0"/>
              <a:t>(</a:t>
            </a:r>
            <a:r>
              <a:rPr lang="en-GB" altLang="en-US" sz="2448" i="1" dirty="0"/>
              <a:t>x</a:t>
            </a:r>
            <a:r>
              <a:rPr lang="en-GB" altLang="en-US" sz="2448" dirty="0"/>
              <a:t>) is linear, the NN can </a:t>
            </a:r>
            <a:r>
              <a:rPr lang="en-GB" altLang="en-US" sz="2448" b="1" dirty="0"/>
              <a:t>only</a:t>
            </a:r>
            <a:r>
              <a:rPr lang="en-GB" altLang="en-US" sz="2448" dirty="0"/>
              <a:t> draw straight  decision boundaries (even if there are many layers of units)</a:t>
            </a:r>
          </a:p>
        </p:txBody>
      </p:sp>
      <p:pic>
        <p:nvPicPr>
          <p:cNvPr id="3174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8187" y="2585708"/>
            <a:ext cx="4303576" cy="3158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p:cNvCxnSpPr/>
          <p:nvPr/>
        </p:nvCxnSpPr>
        <p:spPr>
          <a:xfrm>
            <a:off x="3140323" y="3864800"/>
            <a:ext cx="6994525" cy="901840"/>
          </a:xfrm>
          <a:prstGeom prst="line">
            <a:avLst/>
          </a:prstGeom>
        </p:spPr>
        <p:style>
          <a:lnRef idx="1">
            <a:schemeClr val="accent1"/>
          </a:lnRef>
          <a:fillRef idx="0">
            <a:schemeClr val="accent1"/>
          </a:fillRef>
          <a:effectRef idx="0">
            <a:schemeClr val="accent1"/>
          </a:effectRef>
          <a:fontRef idx="minor">
            <a:schemeClr val="tx1"/>
          </a:fontRef>
        </p:style>
      </p:cxnSp>
      <p:sp>
        <p:nvSpPr>
          <p:cNvPr id="7"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Some Other ‘By The Way’ Points</a:t>
            </a:r>
          </a:p>
        </p:txBody>
      </p:sp>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9137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Content Placeholder 3"/>
          <p:cNvSpPr>
            <a:spLocks noGrp="1"/>
          </p:cNvSpPr>
          <p:nvPr>
            <p:ph idx="1"/>
          </p:nvPr>
        </p:nvSpPr>
        <p:spPr>
          <a:xfrm>
            <a:off x="2207720" y="1253185"/>
            <a:ext cx="4910532" cy="1379476"/>
          </a:xfrm>
        </p:spPr>
        <p:txBody>
          <a:bodyPr/>
          <a:lstStyle/>
          <a:p>
            <a:pPr marL="0" indent="0">
              <a:buNone/>
            </a:pPr>
            <a:r>
              <a:rPr lang="en-GB" altLang="en-US" sz="2448" dirty="0"/>
              <a:t>NNs use nonlinear </a:t>
            </a:r>
            <a:r>
              <a:rPr lang="en-GB" altLang="en-US" sz="2448" i="1" dirty="0"/>
              <a:t>f</a:t>
            </a:r>
            <a:r>
              <a:rPr lang="en-GB" altLang="en-US" sz="2448" dirty="0"/>
              <a:t>(x) so they</a:t>
            </a:r>
          </a:p>
          <a:p>
            <a:pPr marL="0" indent="0">
              <a:buNone/>
            </a:pPr>
            <a:r>
              <a:rPr lang="en-GB" altLang="en-US" sz="2448" dirty="0"/>
              <a:t>can draw complex boundaries,</a:t>
            </a:r>
          </a:p>
          <a:p>
            <a:pPr marL="0" indent="0">
              <a:buNone/>
            </a:pPr>
            <a:r>
              <a:rPr lang="en-GB" altLang="en-US" sz="2448" dirty="0"/>
              <a:t>but keep the data unchanged</a:t>
            </a:r>
          </a:p>
        </p:txBody>
      </p:sp>
      <p:pic>
        <p:nvPicPr>
          <p:cNvPr id="3277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7335" y="2943530"/>
            <a:ext cx="4084996" cy="2996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reeform 2"/>
          <p:cNvSpPr/>
          <p:nvPr/>
        </p:nvSpPr>
        <p:spPr>
          <a:xfrm>
            <a:off x="1804564" y="3129728"/>
            <a:ext cx="4376436" cy="2041688"/>
          </a:xfrm>
          <a:custGeom>
            <a:avLst/>
            <a:gdLst>
              <a:gd name="connsiteX0" fmla="*/ 0 w 4291013"/>
              <a:gd name="connsiteY0" fmla="*/ 1209040 h 2001520"/>
              <a:gd name="connsiteX1" fmla="*/ 81280 w 4291013"/>
              <a:gd name="connsiteY1" fmla="*/ 1198880 h 2001520"/>
              <a:gd name="connsiteX2" fmla="*/ 101600 w 4291013"/>
              <a:gd name="connsiteY2" fmla="*/ 1259840 h 2001520"/>
              <a:gd name="connsiteX3" fmla="*/ 457200 w 4291013"/>
              <a:gd name="connsiteY3" fmla="*/ 1280160 h 2001520"/>
              <a:gd name="connsiteX4" fmla="*/ 518160 w 4291013"/>
              <a:gd name="connsiteY4" fmla="*/ 1290320 h 2001520"/>
              <a:gd name="connsiteX5" fmla="*/ 568960 w 4291013"/>
              <a:gd name="connsiteY5" fmla="*/ 1310640 h 2001520"/>
              <a:gd name="connsiteX6" fmla="*/ 741680 w 4291013"/>
              <a:gd name="connsiteY6" fmla="*/ 1402080 h 2001520"/>
              <a:gd name="connsiteX7" fmla="*/ 812800 w 4291013"/>
              <a:gd name="connsiteY7" fmla="*/ 1473200 h 2001520"/>
              <a:gd name="connsiteX8" fmla="*/ 894080 w 4291013"/>
              <a:gd name="connsiteY8" fmla="*/ 1524000 h 2001520"/>
              <a:gd name="connsiteX9" fmla="*/ 955040 w 4291013"/>
              <a:gd name="connsiteY9" fmla="*/ 1574800 h 2001520"/>
              <a:gd name="connsiteX10" fmla="*/ 995680 w 4291013"/>
              <a:gd name="connsiteY10" fmla="*/ 1605280 h 2001520"/>
              <a:gd name="connsiteX11" fmla="*/ 1026160 w 4291013"/>
              <a:gd name="connsiteY11" fmla="*/ 1645920 h 2001520"/>
              <a:gd name="connsiteX12" fmla="*/ 1066800 w 4291013"/>
              <a:gd name="connsiteY12" fmla="*/ 1666240 h 2001520"/>
              <a:gd name="connsiteX13" fmla="*/ 1097280 w 4291013"/>
              <a:gd name="connsiteY13" fmla="*/ 1686560 h 2001520"/>
              <a:gd name="connsiteX14" fmla="*/ 1107440 w 4291013"/>
              <a:gd name="connsiteY14" fmla="*/ 1717040 h 2001520"/>
              <a:gd name="connsiteX15" fmla="*/ 1026160 w 4291013"/>
              <a:gd name="connsiteY15" fmla="*/ 1767840 h 2001520"/>
              <a:gd name="connsiteX16" fmla="*/ 975360 w 4291013"/>
              <a:gd name="connsiteY16" fmla="*/ 1818640 h 2001520"/>
              <a:gd name="connsiteX17" fmla="*/ 914400 w 4291013"/>
              <a:gd name="connsiteY17" fmla="*/ 1899920 h 2001520"/>
              <a:gd name="connsiteX18" fmla="*/ 955040 w 4291013"/>
              <a:gd name="connsiteY18" fmla="*/ 1940560 h 2001520"/>
              <a:gd name="connsiteX19" fmla="*/ 1005840 w 4291013"/>
              <a:gd name="connsiteY19" fmla="*/ 1971040 h 2001520"/>
              <a:gd name="connsiteX20" fmla="*/ 1036320 w 4291013"/>
              <a:gd name="connsiteY20" fmla="*/ 1981200 h 2001520"/>
              <a:gd name="connsiteX21" fmla="*/ 1259840 w 4291013"/>
              <a:gd name="connsiteY21" fmla="*/ 2001520 h 2001520"/>
              <a:gd name="connsiteX22" fmla="*/ 1544320 w 4291013"/>
              <a:gd name="connsiteY22" fmla="*/ 1991360 h 2001520"/>
              <a:gd name="connsiteX23" fmla="*/ 1747520 w 4291013"/>
              <a:gd name="connsiteY23" fmla="*/ 1940560 h 2001520"/>
              <a:gd name="connsiteX24" fmla="*/ 1910080 w 4291013"/>
              <a:gd name="connsiteY24" fmla="*/ 1920240 h 2001520"/>
              <a:gd name="connsiteX25" fmla="*/ 2133600 w 4291013"/>
              <a:gd name="connsiteY25" fmla="*/ 1859280 h 2001520"/>
              <a:gd name="connsiteX26" fmla="*/ 2357120 w 4291013"/>
              <a:gd name="connsiteY26" fmla="*/ 1818640 h 2001520"/>
              <a:gd name="connsiteX27" fmla="*/ 2468880 w 4291013"/>
              <a:gd name="connsiteY27" fmla="*/ 1788160 h 2001520"/>
              <a:gd name="connsiteX28" fmla="*/ 2560320 w 4291013"/>
              <a:gd name="connsiteY28" fmla="*/ 1767840 h 2001520"/>
              <a:gd name="connsiteX29" fmla="*/ 2712720 w 4291013"/>
              <a:gd name="connsiteY29" fmla="*/ 1696720 h 2001520"/>
              <a:gd name="connsiteX30" fmla="*/ 2794000 w 4291013"/>
              <a:gd name="connsiteY30" fmla="*/ 1656080 h 2001520"/>
              <a:gd name="connsiteX31" fmla="*/ 2875280 w 4291013"/>
              <a:gd name="connsiteY31" fmla="*/ 1564640 h 2001520"/>
              <a:gd name="connsiteX32" fmla="*/ 2885440 w 4291013"/>
              <a:gd name="connsiteY32" fmla="*/ 1513840 h 2001520"/>
              <a:gd name="connsiteX33" fmla="*/ 2915920 w 4291013"/>
              <a:gd name="connsiteY33" fmla="*/ 1422400 h 2001520"/>
              <a:gd name="connsiteX34" fmla="*/ 2905760 w 4291013"/>
              <a:gd name="connsiteY34" fmla="*/ 1341120 h 2001520"/>
              <a:gd name="connsiteX35" fmla="*/ 2804160 w 4291013"/>
              <a:gd name="connsiteY35" fmla="*/ 1310640 h 2001520"/>
              <a:gd name="connsiteX36" fmla="*/ 2702560 w 4291013"/>
              <a:gd name="connsiteY36" fmla="*/ 1249680 h 2001520"/>
              <a:gd name="connsiteX37" fmla="*/ 2641600 w 4291013"/>
              <a:gd name="connsiteY37" fmla="*/ 1219200 h 2001520"/>
              <a:gd name="connsiteX38" fmla="*/ 2600960 w 4291013"/>
              <a:gd name="connsiteY38" fmla="*/ 1178560 h 2001520"/>
              <a:gd name="connsiteX39" fmla="*/ 2550160 w 4291013"/>
              <a:gd name="connsiteY39" fmla="*/ 1137920 h 2001520"/>
              <a:gd name="connsiteX40" fmla="*/ 2377440 w 4291013"/>
              <a:gd name="connsiteY40" fmla="*/ 1046480 h 2001520"/>
              <a:gd name="connsiteX41" fmla="*/ 2326640 w 4291013"/>
              <a:gd name="connsiteY41" fmla="*/ 1036320 h 2001520"/>
              <a:gd name="connsiteX42" fmla="*/ 2286000 w 4291013"/>
              <a:gd name="connsiteY42" fmla="*/ 1016000 h 2001520"/>
              <a:gd name="connsiteX43" fmla="*/ 2448560 w 4291013"/>
              <a:gd name="connsiteY43" fmla="*/ 944880 h 2001520"/>
              <a:gd name="connsiteX44" fmla="*/ 2529840 w 4291013"/>
              <a:gd name="connsiteY44" fmla="*/ 904240 h 2001520"/>
              <a:gd name="connsiteX45" fmla="*/ 2661920 w 4291013"/>
              <a:gd name="connsiteY45" fmla="*/ 822960 h 2001520"/>
              <a:gd name="connsiteX46" fmla="*/ 2753360 w 4291013"/>
              <a:gd name="connsiteY46" fmla="*/ 782320 h 2001520"/>
              <a:gd name="connsiteX47" fmla="*/ 2956560 w 4291013"/>
              <a:gd name="connsiteY47" fmla="*/ 650240 h 2001520"/>
              <a:gd name="connsiteX48" fmla="*/ 3007360 w 4291013"/>
              <a:gd name="connsiteY48" fmla="*/ 619760 h 2001520"/>
              <a:gd name="connsiteX49" fmla="*/ 3119120 w 4291013"/>
              <a:gd name="connsiteY49" fmla="*/ 568960 h 2001520"/>
              <a:gd name="connsiteX50" fmla="*/ 3159760 w 4291013"/>
              <a:gd name="connsiteY50" fmla="*/ 558800 h 2001520"/>
              <a:gd name="connsiteX51" fmla="*/ 3454400 w 4291013"/>
              <a:gd name="connsiteY51" fmla="*/ 325120 h 2001520"/>
              <a:gd name="connsiteX52" fmla="*/ 3576320 w 4291013"/>
              <a:gd name="connsiteY52" fmla="*/ 264160 h 2001520"/>
              <a:gd name="connsiteX53" fmla="*/ 3688080 w 4291013"/>
              <a:gd name="connsiteY53" fmla="*/ 193040 h 2001520"/>
              <a:gd name="connsiteX54" fmla="*/ 3779520 w 4291013"/>
              <a:gd name="connsiteY54" fmla="*/ 152400 h 2001520"/>
              <a:gd name="connsiteX55" fmla="*/ 3870960 w 4291013"/>
              <a:gd name="connsiteY55" fmla="*/ 101600 h 2001520"/>
              <a:gd name="connsiteX56" fmla="*/ 3921760 w 4291013"/>
              <a:gd name="connsiteY56" fmla="*/ 81280 h 2001520"/>
              <a:gd name="connsiteX57" fmla="*/ 4074160 w 4291013"/>
              <a:gd name="connsiteY57" fmla="*/ 40640 h 2001520"/>
              <a:gd name="connsiteX58" fmla="*/ 4155440 w 4291013"/>
              <a:gd name="connsiteY58" fmla="*/ 30480 h 2001520"/>
              <a:gd name="connsiteX59" fmla="*/ 4206240 w 4291013"/>
              <a:gd name="connsiteY59" fmla="*/ 20320 h 2001520"/>
              <a:gd name="connsiteX60" fmla="*/ 4277360 w 4291013"/>
              <a:gd name="connsiteY60" fmla="*/ 0 h 200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291013" h="2001520">
                <a:moveTo>
                  <a:pt x="0" y="1209040"/>
                </a:moveTo>
                <a:cubicBezTo>
                  <a:pt x="27093" y="1205653"/>
                  <a:pt x="56858" y="1186669"/>
                  <a:pt x="81280" y="1198880"/>
                </a:cubicBezTo>
                <a:cubicBezTo>
                  <a:pt x="100438" y="1208459"/>
                  <a:pt x="80216" y="1258618"/>
                  <a:pt x="101600" y="1259840"/>
                </a:cubicBezTo>
                <a:lnTo>
                  <a:pt x="457200" y="1280160"/>
                </a:lnTo>
                <a:cubicBezTo>
                  <a:pt x="477520" y="1283547"/>
                  <a:pt x="498286" y="1284900"/>
                  <a:pt x="518160" y="1290320"/>
                </a:cubicBezTo>
                <a:cubicBezTo>
                  <a:pt x="535755" y="1295119"/>
                  <a:pt x="552197" y="1303456"/>
                  <a:pt x="568960" y="1310640"/>
                </a:cubicBezTo>
                <a:cubicBezTo>
                  <a:pt x="630549" y="1337035"/>
                  <a:pt x="688675" y="1359676"/>
                  <a:pt x="741680" y="1402080"/>
                </a:cubicBezTo>
                <a:cubicBezTo>
                  <a:pt x="767860" y="1423024"/>
                  <a:pt x="786620" y="1452256"/>
                  <a:pt x="812800" y="1473200"/>
                </a:cubicBezTo>
                <a:cubicBezTo>
                  <a:pt x="837749" y="1493159"/>
                  <a:pt x="868081" y="1505430"/>
                  <a:pt x="894080" y="1524000"/>
                </a:cubicBezTo>
                <a:cubicBezTo>
                  <a:pt x="915604" y="1539374"/>
                  <a:pt x="934385" y="1558276"/>
                  <a:pt x="955040" y="1574800"/>
                </a:cubicBezTo>
                <a:cubicBezTo>
                  <a:pt x="968263" y="1585378"/>
                  <a:pt x="983706" y="1593306"/>
                  <a:pt x="995680" y="1605280"/>
                </a:cubicBezTo>
                <a:cubicBezTo>
                  <a:pt x="1007654" y="1617254"/>
                  <a:pt x="1013303" y="1634900"/>
                  <a:pt x="1026160" y="1645920"/>
                </a:cubicBezTo>
                <a:cubicBezTo>
                  <a:pt x="1037659" y="1655777"/>
                  <a:pt x="1053650" y="1658726"/>
                  <a:pt x="1066800" y="1666240"/>
                </a:cubicBezTo>
                <a:cubicBezTo>
                  <a:pt x="1077402" y="1672298"/>
                  <a:pt x="1087120" y="1679787"/>
                  <a:pt x="1097280" y="1686560"/>
                </a:cubicBezTo>
                <a:cubicBezTo>
                  <a:pt x="1100667" y="1696720"/>
                  <a:pt x="1114492" y="1708980"/>
                  <a:pt x="1107440" y="1717040"/>
                </a:cubicBezTo>
                <a:cubicBezTo>
                  <a:pt x="1086401" y="1741085"/>
                  <a:pt x="1048752" y="1745248"/>
                  <a:pt x="1026160" y="1767840"/>
                </a:cubicBezTo>
                <a:cubicBezTo>
                  <a:pt x="1009227" y="1784773"/>
                  <a:pt x="990829" y="1800359"/>
                  <a:pt x="975360" y="1818640"/>
                </a:cubicBezTo>
                <a:cubicBezTo>
                  <a:pt x="953484" y="1844493"/>
                  <a:pt x="914400" y="1899920"/>
                  <a:pt x="914400" y="1899920"/>
                </a:cubicBezTo>
                <a:cubicBezTo>
                  <a:pt x="930656" y="1948688"/>
                  <a:pt x="911691" y="1918885"/>
                  <a:pt x="955040" y="1940560"/>
                </a:cubicBezTo>
                <a:cubicBezTo>
                  <a:pt x="972703" y="1949391"/>
                  <a:pt x="988177" y="1962209"/>
                  <a:pt x="1005840" y="1971040"/>
                </a:cubicBezTo>
                <a:cubicBezTo>
                  <a:pt x="1015419" y="1975829"/>
                  <a:pt x="1025930" y="1978603"/>
                  <a:pt x="1036320" y="1981200"/>
                </a:cubicBezTo>
                <a:cubicBezTo>
                  <a:pt x="1115596" y="2001019"/>
                  <a:pt x="1163651" y="1995862"/>
                  <a:pt x="1259840" y="2001520"/>
                </a:cubicBezTo>
                <a:cubicBezTo>
                  <a:pt x="1354667" y="1998133"/>
                  <a:pt x="1450166" y="2003129"/>
                  <a:pt x="1544320" y="1991360"/>
                </a:cubicBezTo>
                <a:cubicBezTo>
                  <a:pt x="1613599" y="1982700"/>
                  <a:pt x="1678241" y="1949220"/>
                  <a:pt x="1747520" y="1940560"/>
                </a:cubicBezTo>
                <a:lnTo>
                  <a:pt x="1910080" y="1920240"/>
                </a:lnTo>
                <a:cubicBezTo>
                  <a:pt x="1984587" y="1899920"/>
                  <a:pt x="2058293" y="1876395"/>
                  <a:pt x="2133600" y="1859280"/>
                </a:cubicBezTo>
                <a:cubicBezTo>
                  <a:pt x="2207445" y="1842497"/>
                  <a:pt x="2283040" y="1834354"/>
                  <a:pt x="2357120" y="1818640"/>
                </a:cubicBezTo>
                <a:cubicBezTo>
                  <a:pt x="2394893" y="1810627"/>
                  <a:pt x="2431419" y="1797525"/>
                  <a:pt x="2468880" y="1788160"/>
                </a:cubicBezTo>
                <a:cubicBezTo>
                  <a:pt x="2499171" y="1780587"/>
                  <a:pt x="2530365" y="1776650"/>
                  <a:pt x="2560320" y="1767840"/>
                </a:cubicBezTo>
                <a:cubicBezTo>
                  <a:pt x="2647282" y="1742263"/>
                  <a:pt x="2635239" y="1738043"/>
                  <a:pt x="2712720" y="1696720"/>
                </a:cubicBezTo>
                <a:cubicBezTo>
                  <a:pt x="2739448" y="1682465"/>
                  <a:pt x="2769095" y="1673322"/>
                  <a:pt x="2794000" y="1656080"/>
                </a:cubicBezTo>
                <a:cubicBezTo>
                  <a:pt x="2826642" y="1633481"/>
                  <a:pt x="2851738" y="1596030"/>
                  <a:pt x="2875280" y="1564640"/>
                </a:cubicBezTo>
                <a:cubicBezTo>
                  <a:pt x="2878667" y="1547707"/>
                  <a:pt x="2879979" y="1530223"/>
                  <a:pt x="2885440" y="1513840"/>
                </a:cubicBezTo>
                <a:cubicBezTo>
                  <a:pt x="2927504" y="1387647"/>
                  <a:pt x="2886803" y="1567986"/>
                  <a:pt x="2915920" y="1422400"/>
                </a:cubicBezTo>
                <a:cubicBezTo>
                  <a:pt x="2912533" y="1395307"/>
                  <a:pt x="2921418" y="1363488"/>
                  <a:pt x="2905760" y="1341120"/>
                </a:cubicBezTo>
                <a:cubicBezTo>
                  <a:pt x="2900513" y="1333624"/>
                  <a:pt x="2820623" y="1314756"/>
                  <a:pt x="2804160" y="1310640"/>
                </a:cubicBezTo>
                <a:cubicBezTo>
                  <a:pt x="2770293" y="1290320"/>
                  <a:pt x="2737885" y="1267343"/>
                  <a:pt x="2702560" y="1249680"/>
                </a:cubicBezTo>
                <a:cubicBezTo>
                  <a:pt x="2682240" y="1239520"/>
                  <a:pt x="2660212" y="1232228"/>
                  <a:pt x="2641600" y="1219200"/>
                </a:cubicBezTo>
                <a:cubicBezTo>
                  <a:pt x="2625905" y="1208214"/>
                  <a:pt x="2615279" y="1191288"/>
                  <a:pt x="2600960" y="1178560"/>
                </a:cubicBezTo>
                <a:cubicBezTo>
                  <a:pt x="2584752" y="1164153"/>
                  <a:pt x="2567925" y="1150356"/>
                  <a:pt x="2550160" y="1137920"/>
                </a:cubicBezTo>
                <a:cubicBezTo>
                  <a:pt x="2514749" y="1113132"/>
                  <a:pt x="2391967" y="1049385"/>
                  <a:pt x="2377440" y="1046480"/>
                </a:cubicBezTo>
                <a:lnTo>
                  <a:pt x="2326640" y="1036320"/>
                </a:lnTo>
                <a:cubicBezTo>
                  <a:pt x="2313093" y="1029547"/>
                  <a:pt x="2279227" y="1029547"/>
                  <a:pt x="2286000" y="1016000"/>
                </a:cubicBezTo>
                <a:cubicBezTo>
                  <a:pt x="2301795" y="984409"/>
                  <a:pt x="2429142" y="954589"/>
                  <a:pt x="2448560" y="944880"/>
                </a:cubicBezTo>
                <a:cubicBezTo>
                  <a:pt x="2475653" y="931333"/>
                  <a:pt x="2503540" y="919269"/>
                  <a:pt x="2529840" y="904240"/>
                </a:cubicBezTo>
                <a:cubicBezTo>
                  <a:pt x="2642513" y="839856"/>
                  <a:pt x="2537180" y="885330"/>
                  <a:pt x="2661920" y="822960"/>
                </a:cubicBezTo>
                <a:cubicBezTo>
                  <a:pt x="2691753" y="808043"/>
                  <a:pt x="2722880" y="795867"/>
                  <a:pt x="2753360" y="782320"/>
                </a:cubicBezTo>
                <a:cubicBezTo>
                  <a:pt x="2874564" y="661116"/>
                  <a:pt x="2746631" y="776197"/>
                  <a:pt x="2956560" y="650240"/>
                </a:cubicBezTo>
                <a:cubicBezTo>
                  <a:pt x="2973493" y="640080"/>
                  <a:pt x="2990024" y="629216"/>
                  <a:pt x="3007360" y="619760"/>
                </a:cubicBezTo>
                <a:cubicBezTo>
                  <a:pt x="3039928" y="601996"/>
                  <a:pt x="3083114" y="580962"/>
                  <a:pt x="3119120" y="568960"/>
                </a:cubicBezTo>
                <a:cubicBezTo>
                  <a:pt x="3132367" y="564544"/>
                  <a:pt x="3146213" y="562187"/>
                  <a:pt x="3159760" y="558800"/>
                </a:cubicBezTo>
                <a:cubicBezTo>
                  <a:pt x="3171384" y="549113"/>
                  <a:pt x="3398421" y="353110"/>
                  <a:pt x="3454400" y="325120"/>
                </a:cubicBezTo>
                <a:cubicBezTo>
                  <a:pt x="3495040" y="304800"/>
                  <a:pt x="3536764" y="286518"/>
                  <a:pt x="3576320" y="264160"/>
                </a:cubicBezTo>
                <a:cubicBezTo>
                  <a:pt x="3614761" y="242432"/>
                  <a:pt x="3649389" y="214320"/>
                  <a:pt x="3688080" y="193040"/>
                </a:cubicBezTo>
                <a:cubicBezTo>
                  <a:pt x="3717306" y="176966"/>
                  <a:pt x="3749235" y="166378"/>
                  <a:pt x="3779520" y="152400"/>
                </a:cubicBezTo>
                <a:cubicBezTo>
                  <a:pt x="3906719" y="93693"/>
                  <a:pt x="3717343" y="178408"/>
                  <a:pt x="3870960" y="101600"/>
                </a:cubicBezTo>
                <a:cubicBezTo>
                  <a:pt x="3887272" y="93444"/>
                  <a:pt x="3904620" y="87513"/>
                  <a:pt x="3921760" y="81280"/>
                </a:cubicBezTo>
                <a:cubicBezTo>
                  <a:pt x="3971240" y="63287"/>
                  <a:pt x="4022023" y="48661"/>
                  <a:pt x="4074160" y="40640"/>
                </a:cubicBezTo>
                <a:cubicBezTo>
                  <a:pt x="4101147" y="36488"/>
                  <a:pt x="4128453" y="34632"/>
                  <a:pt x="4155440" y="30480"/>
                </a:cubicBezTo>
                <a:cubicBezTo>
                  <a:pt x="4172508" y="27854"/>
                  <a:pt x="4189172" y="22946"/>
                  <a:pt x="4206240" y="20320"/>
                </a:cubicBezTo>
                <a:cubicBezTo>
                  <a:pt x="4290122" y="7415"/>
                  <a:pt x="4307204" y="29844"/>
                  <a:pt x="427736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Some Other ‘By The Way’ Points</a:t>
            </a: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16006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Content Placeholder 3"/>
          <p:cNvSpPr>
            <a:spLocks noGrp="1"/>
          </p:cNvSpPr>
          <p:nvPr>
            <p:ph idx="1"/>
          </p:nvPr>
        </p:nvSpPr>
        <p:spPr>
          <a:xfrm>
            <a:off x="2207719" y="1253186"/>
            <a:ext cx="9253173" cy="1352550"/>
          </a:xfrm>
        </p:spPr>
        <p:txBody>
          <a:bodyPr/>
          <a:lstStyle/>
          <a:p>
            <a:pPr marL="0" indent="0">
              <a:buNone/>
            </a:pPr>
            <a:r>
              <a:rPr lang="en-GB" altLang="en-US" sz="2448" dirty="0"/>
              <a:t>NNs use nonlinear </a:t>
            </a:r>
            <a:r>
              <a:rPr lang="en-GB" altLang="en-US" sz="2448" i="1" dirty="0"/>
              <a:t>f</a:t>
            </a:r>
            <a:r>
              <a:rPr lang="en-GB" altLang="en-US" sz="2448" dirty="0"/>
              <a:t>(x) so they        SVMs only draw straight lines,     </a:t>
            </a:r>
          </a:p>
          <a:p>
            <a:pPr marL="0" indent="0">
              <a:buNone/>
            </a:pPr>
            <a:r>
              <a:rPr lang="en-GB" altLang="en-US" sz="2448" dirty="0"/>
              <a:t>can draw complex boundaries,        but they transform the data first</a:t>
            </a:r>
          </a:p>
          <a:p>
            <a:pPr marL="0" indent="0">
              <a:buNone/>
            </a:pPr>
            <a:r>
              <a:rPr lang="en-GB" altLang="en-US" sz="2448" dirty="0"/>
              <a:t>but keep the data unchanged           in a way that makes that OK</a:t>
            </a:r>
          </a:p>
        </p:txBody>
      </p:sp>
      <p:pic>
        <p:nvPicPr>
          <p:cNvPr id="3379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7335" y="2943530"/>
            <a:ext cx="4084996" cy="2996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reeform 2"/>
          <p:cNvSpPr/>
          <p:nvPr/>
        </p:nvSpPr>
        <p:spPr>
          <a:xfrm>
            <a:off x="1804564" y="3129728"/>
            <a:ext cx="4376436" cy="2041688"/>
          </a:xfrm>
          <a:custGeom>
            <a:avLst/>
            <a:gdLst>
              <a:gd name="connsiteX0" fmla="*/ 0 w 4291013"/>
              <a:gd name="connsiteY0" fmla="*/ 1209040 h 2001520"/>
              <a:gd name="connsiteX1" fmla="*/ 81280 w 4291013"/>
              <a:gd name="connsiteY1" fmla="*/ 1198880 h 2001520"/>
              <a:gd name="connsiteX2" fmla="*/ 101600 w 4291013"/>
              <a:gd name="connsiteY2" fmla="*/ 1259840 h 2001520"/>
              <a:gd name="connsiteX3" fmla="*/ 457200 w 4291013"/>
              <a:gd name="connsiteY3" fmla="*/ 1280160 h 2001520"/>
              <a:gd name="connsiteX4" fmla="*/ 518160 w 4291013"/>
              <a:gd name="connsiteY4" fmla="*/ 1290320 h 2001520"/>
              <a:gd name="connsiteX5" fmla="*/ 568960 w 4291013"/>
              <a:gd name="connsiteY5" fmla="*/ 1310640 h 2001520"/>
              <a:gd name="connsiteX6" fmla="*/ 741680 w 4291013"/>
              <a:gd name="connsiteY6" fmla="*/ 1402080 h 2001520"/>
              <a:gd name="connsiteX7" fmla="*/ 812800 w 4291013"/>
              <a:gd name="connsiteY7" fmla="*/ 1473200 h 2001520"/>
              <a:gd name="connsiteX8" fmla="*/ 894080 w 4291013"/>
              <a:gd name="connsiteY8" fmla="*/ 1524000 h 2001520"/>
              <a:gd name="connsiteX9" fmla="*/ 955040 w 4291013"/>
              <a:gd name="connsiteY9" fmla="*/ 1574800 h 2001520"/>
              <a:gd name="connsiteX10" fmla="*/ 995680 w 4291013"/>
              <a:gd name="connsiteY10" fmla="*/ 1605280 h 2001520"/>
              <a:gd name="connsiteX11" fmla="*/ 1026160 w 4291013"/>
              <a:gd name="connsiteY11" fmla="*/ 1645920 h 2001520"/>
              <a:gd name="connsiteX12" fmla="*/ 1066800 w 4291013"/>
              <a:gd name="connsiteY12" fmla="*/ 1666240 h 2001520"/>
              <a:gd name="connsiteX13" fmla="*/ 1097280 w 4291013"/>
              <a:gd name="connsiteY13" fmla="*/ 1686560 h 2001520"/>
              <a:gd name="connsiteX14" fmla="*/ 1107440 w 4291013"/>
              <a:gd name="connsiteY14" fmla="*/ 1717040 h 2001520"/>
              <a:gd name="connsiteX15" fmla="*/ 1026160 w 4291013"/>
              <a:gd name="connsiteY15" fmla="*/ 1767840 h 2001520"/>
              <a:gd name="connsiteX16" fmla="*/ 975360 w 4291013"/>
              <a:gd name="connsiteY16" fmla="*/ 1818640 h 2001520"/>
              <a:gd name="connsiteX17" fmla="*/ 914400 w 4291013"/>
              <a:gd name="connsiteY17" fmla="*/ 1899920 h 2001520"/>
              <a:gd name="connsiteX18" fmla="*/ 955040 w 4291013"/>
              <a:gd name="connsiteY18" fmla="*/ 1940560 h 2001520"/>
              <a:gd name="connsiteX19" fmla="*/ 1005840 w 4291013"/>
              <a:gd name="connsiteY19" fmla="*/ 1971040 h 2001520"/>
              <a:gd name="connsiteX20" fmla="*/ 1036320 w 4291013"/>
              <a:gd name="connsiteY20" fmla="*/ 1981200 h 2001520"/>
              <a:gd name="connsiteX21" fmla="*/ 1259840 w 4291013"/>
              <a:gd name="connsiteY21" fmla="*/ 2001520 h 2001520"/>
              <a:gd name="connsiteX22" fmla="*/ 1544320 w 4291013"/>
              <a:gd name="connsiteY22" fmla="*/ 1991360 h 2001520"/>
              <a:gd name="connsiteX23" fmla="*/ 1747520 w 4291013"/>
              <a:gd name="connsiteY23" fmla="*/ 1940560 h 2001520"/>
              <a:gd name="connsiteX24" fmla="*/ 1910080 w 4291013"/>
              <a:gd name="connsiteY24" fmla="*/ 1920240 h 2001520"/>
              <a:gd name="connsiteX25" fmla="*/ 2133600 w 4291013"/>
              <a:gd name="connsiteY25" fmla="*/ 1859280 h 2001520"/>
              <a:gd name="connsiteX26" fmla="*/ 2357120 w 4291013"/>
              <a:gd name="connsiteY26" fmla="*/ 1818640 h 2001520"/>
              <a:gd name="connsiteX27" fmla="*/ 2468880 w 4291013"/>
              <a:gd name="connsiteY27" fmla="*/ 1788160 h 2001520"/>
              <a:gd name="connsiteX28" fmla="*/ 2560320 w 4291013"/>
              <a:gd name="connsiteY28" fmla="*/ 1767840 h 2001520"/>
              <a:gd name="connsiteX29" fmla="*/ 2712720 w 4291013"/>
              <a:gd name="connsiteY29" fmla="*/ 1696720 h 2001520"/>
              <a:gd name="connsiteX30" fmla="*/ 2794000 w 4291013"/>
              <a:gd name="connsiteY30" fmla="*/ 1656080 h 2001520"/>
              <a:gd name="connsiteX31" fmla="*/ 2875280 w 4291013"/>
              <a:gd name="connsiteY31" fmla="*/ 1564640 h 2001520"/>
              <a:gd name="connsiteX32" fmla="*/ 2885440 w 4291013"/>
              <a:gd name="connsiteY32" fmla="*/ 1513840 h 2001520"/>
              <a:gd name="connsiteX33" fmla="*/ 2915920 w 4291013"/>
              <a:gd name="connsiteY33" fmla="*/ 1422400 h 2001520"/>
              <a:gd name="connsiteX34" fmla="*/ 2905760 w 4291013"/>
              <a:gd name="connsiteY34" fmla="*/ 1341120 h 2001520"/>
              <a:gd name="connsiteX35" fmla="*/ 2804160 w 4291013"/>
              <a:gd name="connsiteY35" fmla="*/ 1310640 h 2001520"/>
              <a:gd name="connsiteX36" fmla="*/ 2702560 w 4291013"/>
              <a:gd name="connsiteY36" fmla="*/ 1249680 h 2001520"/>
              <a:gd name="connsiteX37" fmla="*/ 2641600 w 4291013"/>
              <a:gd name="connsiteY37" fmla="*/ 1219200 h 2001520"/>
              <a:gd name="connsiteX38" fmla="*/ 2600960 w 4291013"/>
              <a:gd name="connsiteY38" fmla="*/ 1178560 h 2001520"/>
              <a:gd name="connsiteX39" fmla="*/ 2550160 w 4291013"/>
              <a:gd name="connsiteY39" fmla="*/ 1137920 h 2001520"/>
              <a:gd name="connsiteX40" fmla="*/ 2377440 w 4291013"/>
              <a:gd name="connsiteY40" fmla="*/ 1046480 h 2001520"/>
              <a:gd name="connsiteX41" fmla="*/ 2326640 w 4291013"/>
              <a:gd name="connsiteY41" fmla="*/ 1036320 h 2001520"/>
              <a:gd name="connsiteX42" fmla="*/ 2286000 w 4291013"/>
              <a:gd name="connsiteY42" fmla="*/ 1016000 h 2001520"/>
              <a:gd name="connsiteX43" fmla="*/ 2448560 w 4291013"/>
              <a:gd name="connsiteY43" fmla="*/ 944880 h 2001520"/>
              <a:gd name="connsiteX44" fmla="*/ 2529840 w 4291013"/>
              <a:gd name="connsiteY44" fmla="*/ 904240 h 2001520"/>
              <a:gd name="connsiteX45" fmla="*/ 2661920 w 4291013"/>
              <a:gd name="connsiteY45" fmla="*/ 822960 h 2001520"/>
              <a:gd name="connsiteX46" fmla="*/ 2753360 w 4291013"/>
              <a:gd name="connsiteY46" fmla="*/ 782320 h 2001520"/>
              <a:gd name="connsiteX47" fmla="*/ 2956560 w 4291013"/>
              <a:gd name="connsiteY47" fmla="*/ 650240 h 2001520"/>
              <a:gd name="connsiteX48" fmla="*/ 3007360 w 4291013"/>
              <a:gd name="connsiteY48" fmla="*/ 619760 h 2001520"/>
              <a:gd name="connsiteX49" fmla="*/ 3119120 w 4291013"/>
              <a:gd name="connsiteY49" fmla="*/ 568960 h 2001520"/>
              <a:gd name="connsiteX50" fmla="*/ 3159760 w 4291013"/>
              <a:gd name="connsiteY50" fmla="*/ 558800 h 2001520"/>
              <a:gd name="connsiteX51" fmla="*/ 3454400 w 4291013"/>
              <a:gd name="connsiteY51" fmla="*/ 325120 h 2001520"/>
              <a:gd name="connsiteX52" fmla="*/ 3576320 w 4291013"/>
              <a:gd name="connsiteY52" fmla="*/ 264160 h 2001520"/>
              <a:gd name="connsiteX53" fmla="*/ 3688080 w 4291013"/>
              <a:gd name="connsiteY53" fmla="*/ 193040 h 2001520"/>
              <a:gd name="connsiteX54" fmla="*/ 3779520 w 4291013"/>
              <a:gd name="connsiteY54" fmla="*/ 152400 h 2001520"/>
              <a:gd name="connsiteX55" fmla="*/ 3870960 w 4291013"/>
              <a:gd name="connsiteY55" fmla="*/ 101600 h 2001520"/>
              <a:gd name="connsiteX56" fmla="*/ 3921760 w 4291013"/>
              <a:gd name="connsiteY56" fmla="*/ 81280 h 2001520"/>
              <a:gd name="connsiteX57" fmla="*/ 4074160 w 4291013"/>
              <a:gd name="connsiteY57" fmla="*/ 40640 h 2001520"/>
              <a:gd name="connsiteX58" fmla="*/ 4155440 w 4291013"/>
              <a:gd name="connsiteY58" fmla="*/ 30480 h 2001520"/>
              <a:gd name="connsiteX59" fmla="*/ 4206240 w 4291013"/>
              <a:gd name="connsiteY59" fmla="*/ 20320 h 2001520"/>
              <a:gd name="connsiteX60" fmla="*/ 4277360 w 4291013"/>
              <a:gd name="connsiteY60" fmla="*/ 0 h 200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291013" h="2001520">
                <a:moveTo>
                  <a:pt x="0" y="1209040"/>
                </a:moveTo>
                <a:cubicBezTo>
                  <a:pt x="27093" y="1205653"/>
                  <a:pt x="56858" y="1186669"/>
                  <a:pt x="81280" y="1198880"/>
                </a:cubicBezTo>
                <a:cubicBezTo>
                  <a:pt x="100438" y="1208459"/>
                  <a:pt x="80216" y="1258618"/>
                  <a:pt x="101600" y="1259840"/>
                </a:cubicBezTo>
                <a:lnTo>
                  <a:pt x="457200" y="1280160"/>
                </a:lnTo>
                <a:cubicBezTo>
                  <a:pt x="477520" y="1283547"/>
                  <a:pt x="498286" y="1284900"/>
                  <a:pt x="518160" y="1290320"/>
                </a:cubicBezTo>
                <a:cubicBezTo>
                  <a:pt x="535755" y="1295119"/>
                  <a:pt x="552197" y="1303456"/>
                  <a:pt x="568960" y="1310640"/>
                </a:cubicBezTo>
                <a:cubicBezTo>
                  <a:pt x="630549" y="1337035"/>
                  <a:pt x="688675" y="1359676"/>
                  <a:pt x="741680" y="1402080"/>
                </a:cubicBezTo>
                <a:cubicBezTo>
                  <a:pt x="767860" y="1423024"/>
                  <a:pt x="786620" y="1452256"/>
                  <a:pt x="812800" y="1473200"/>
                </a:cubicBezTo>
                <a:cubicBezTo>
                  <a:pt x="837749" y="1493159"/>
                  <a:pt x="868081" y="1505430"/>
                  <a:pt x="894080" y="1524000"/>
                </a:cubicBezTo>
                <a:cubicBezTo>
                  <a:pt x="915604" y="1539374"/>
                  <a:pt x="934385" y="1558276"/>
                  <a:pt x="955040" y="1574800"/>
                </a:cubicBezTo>
                <a:cubicBezTo>
                  <a:pt x="968263" y="1585378"/>
                  <a:pt x="983706" y="1593306"/>
                  <a:pt x="995680" y="1605280"/>
                </a:cubicBezTo>
                <a:cubicBezTo>
                  <a:pt x="1007654" y="1617254"/>
                  <a:pt x="1013303" y="1634900"/>
                  <a:pt x="1026160" y="1645920"/>
                </a:cubicBezTo>
                <a:cubicBezTo>
                  <a:pt x="1037659" y="1655777"/>
                  <a:pt x="1053650" y="1658726"/>
                  <a:pt x="1066800" y="1666240"/>
                </a:cubicBezTo>
                <a:cubicBezTo>
                  <a:pt x="1077402" y="1672298"/>
                  <a:pt x="1087120" y="1679787"/>
                  <a:pt x="1097280" y="1686560"/>
                </a:cubicBezTo>
                <a:cubicBezTo>
                  <a:pt x="1100667" y="1696720"/>
                  <a:pt x="1114492" y="1708980"/>
                  <a:pt x="1107440" y="1717040"/>
                </a:cubicBezTo>
                <a:cubicBezTo>
                  <a:pt x="1086401" y="1741085"/>
                  <a:pt x="1048752" y="1745248"/>
                  <a:pt x="1026160" y="1767840"/>
                </a:cubicBezTo>
                <a:cubicBezTo>
                  <a:pt x="1009227" y="1784773"/>
                  <a:pt x="990829" y="1800359"/>
                  <a:pt x="975360" y="1818640"/>
                </a:cubicBezTo>
                <a:cubicBezTo>
                  <a:pt x="953484" y="1844493"/>
                  <a:pt x="914400" y="1899920"/>
                  <a:pt x="914400" y="1899920"/>
                </a:cubicBezTo>
                <a:cubicBezTo>
                  <a:pt x="930656" y="1948688"/>
                  <a:pt x="911691" y="1918885"/>
                  <a:pt x="955040" y="1940560"/>
                </a:cubicBezTo>
                <a:cubicBezTo>
                  <a:pt x="972703" y="1949391"/>
                  <a:pt x="988177" y="1962209"/>
                  <a:pt x="1005840" y="1971040"/>
                </a:cubicBezTo>
                <a:cubicBezTo>
                  <a:pt x="1015419" y="1975829"/>
                  <a:pt x="1025930" y="1978603"/>
                  <a:pt x="1036320" y="1981200"/>
                </a:cubicBezTo>
                <a:cubicBezTo>
                  <a:pt x="1115596" y="2001019"/>
                  <a:pt x="1163651" y="1995862"/>
                  <a:pt x="1259840" y="2001520"/>
                </a:cubicBezTo>
                <a:cubicBezTo>
                  <a:pt x="1354667" y="1998133"/>
                  <a:pt x="1450166" y="2003129"/>
                  <a:pt x="1544320" y="1991360"/>
                </a:cubicBezTo>
                <a:cubicBezTo>
                  <a:pt x="1613599" y="1982700"/>
                  <a:pt x="1678241" y="1949220"/>
                  <a:pt x="1747520" y="1940560"/>
                </a:cubicBezTo>
                <a:lnTo>
                  <a:pt x="1910080" y="1920240"/>
                </a:lnTo>
                <a:cubicBezTo>
                  <a:pt x="1984587" y="1899920"/>
                  <a:pt x="2058293" y="1876395"/>
                  <a:pt x="2133600" y="1859280"/>
                </a:cubicBezTo>
                <a:cubicBezTo>
                  <a:pt x="2207445" y="1842497"/>
                  <a:pt x="2283040" y="1834354"/>
                  <a:pt x="2357120" y="1818640"/>
                </a:cubicBezTo>
                <a:cubicBezTo>
                  <a:pt x="2394893" y="1810627"/>
                  <a:pt x="2431419" y="1797525"/>
                  <a:pt x="2468880" y="1788160"/>
                </a:cubicBezTo>
                <a:cubicBezTo>
                  <a:pt x="2499171" y="1780587"/>
                  <a:pt x="2530365" y="1776650"/>
                  <a:pt x="2560320" y="1767840"/>
                </a:cubicBezTo>
                <a:cubicBezTo>
                  <a:pt x="2647282" y="1742263"/>
                  <a:pt x="2635239" y="1738043"/>
                  <a:pt x="2712720" y="1696720"/>
                </a:cubicBezTo>
                <a:cubicBezTo>
                  <a:pt x="2739448" y="1682465"/>
                  <a:pt x="2769095" y="1673322"/>
                  <a:pt x="2794000" y="1656080"/>
                </a:cubicBezTo>
                <a:cubicBezTo>
                  <a:pt x="2826642" y="1633481"/>
                  <a:pt x="2851738" y="1596030"/>
                  <a:pt x="2875280" y="1564640"/>
                </a:cubicBezTo>
                <a:cubicBezTo>
                  <a:pt x="2878667" y="1547707"/>
                  <a:pt x="2879979" y="1530223"/>
                  <a:pt x="2885440" y="1513840"/>
                </a:cubicBezTo>
                <a:cubicBezTo>
                  <a:pt x="2927504" y="1387647"/>
                  <a:pt x="2886803" y="1567986"/>
                  <a:pt x="2915920" y="1422400"/>
                </a:cubicBezTo>
                <a:cubicBezTo>
                  <a:pt x="2912533" y="1395307"/>
                  <a:pt x="2921418" y="1363488"/>
                  <a:pt x="2905760" y="1341120"/>
                </a:cubicBezTo>
                <a:cubicBezTo>
                  <a:pt x="2900513" y="1333624"/>
                  <a:pt x="2820623" y="1314756"/>
                  <a:pt x="2804160" y="1310640"/>
                </a:cubicBezTo>
                <a:cubicBezTo>
                  <a:pt x="2770293" y="1290320"/>
                  <a:pt x="2737885" y="1267343"/>
                  <a:pt x="2702560" y="1249680"/>
                </a:cubicBezTo>
                <a:cubicBezTo>
                  <a:pt x="2682240" y="1239520"/>
                  <a:pt x="2660212" y="1232228"/>
                  <a:pt x="2641600" y="1219200"/>
                </a:cubicBezTo>
                <a:cubicBezTo>
                  <a:pt x="2625905" y="1208214"/>
                  <a:pt x="2615279" y="1191288"/>
                  <a:pt x="2600960" y="1178560"/>
                </a:cubicBezTo>
                <a:cubicBezTo>
                  <a:pt x="2584752" y="1164153"/>
                  <a:pt x="2567925" y="1150356"/>
                  <a:pt x="2550160" y="1137920"/>
                </a:cubicBezTo>
                <a:cubicBezTo>
                  <a:pt x="2514749" y="1113132"/>
                  <a:pt x="2391967" y="1049385"/>
                  <a:pt x="2377440" y="1046480"/>
                </a:cubicBezTo>
                <a:lnTo>
                  <a:pt x="2326640" y="1036320"/>
                </a:lnTo>
                <a:cubicBezTo>
                  <a:pt x="2313093" y="1029547"/>
                  <a:pt x="2279227" y="1029547"/>
                  <a:pt x="2286000" y="1016000"/>
                </a:cubicBezTo>
                <a:cubicBezTo>
                  <a:pt x="2301795" y="984409"/>
                  <a:pt x="2429142" y="954589"/>
                  <a:pt x="2448560" y="944880"/>
                </a:cubicBezTo>
                <a:cubicBezTo>
                  <a:pt x="2475653" y="931333"/>
                  <a:pt x="2503540" y="919269"/>
                  <a:pt x="2529840" y="904240"/>
                </a:cubicBezTo>
                <a:cubicBezTo>
                  <a:pt x="2642513" y="839856"/>
                  <a:pt x="2537180" y="885330"/>
                  <a:pt x="2661920" y="822960"/>
                </a:cubicBezTo>
                <a:cubicBezTo>
                  <a:pt x="2691753" y="808043"/>
                  <a:pt x="2722880" y="795867"/>
                  <a:pt x="2753360" y="782320"/>
                </a:cubicBezTo>
                <a:cubicBezTo>
                  <a:pt x="2874564" y="661116"/>
                  <a:pt x="2746631" y="776197"/>
                  <a:pt x="2956560" y="650240"/>
                </a:cubicBezTo>
                <a:cubicBezTo>
                  <a:pt x="2973493" y="640080"/>
                  <a:pt x="2990024" y="629216"/>
                  <a:pt x="3007360" y="619760"/>
                </a:cubicBezTo>
                <a:cubicBezTo>
                  <a:pt x="3039928" y="601996"/>
                  <a:pt x="3083114" y="580962"/>
                  <a:pt x="3119120" y="568960"/>
                </a:cubicBezTo>
                <a:cubicBezTo>
                  <a:pt x="3132367" y="564544"/>
                  <a:pt x="3146213" y="562187"/>
                  <a:pt x="3159760" y="558800"/>
                </a:cubicBezTo>
                <a:cubicBezTo>
                  <a:pt x="3171384" y="549113"/>
                  <a:pt x="3398421" y="353110"/>
                  <a:pt x="3454400" y="325120"/>
                </a:cubicBezTo>
                <a:cubicBezTo>
                  <a:pt x="3495040" y="304800"/>
                  <a:pt x="3536764" y="286518"/>
                  <a:pt x="3576320" y="264160"/>
                </a:cubicBezTo>
                <a:cubicBezTo>
                  <a:pt x="3614761" y="242432"/>
                  <a:pt x="3649389" y="214320"/>
                  <a:pt x="3688080" y="193040"/>
                </a:cubicBezTo>
                <a:cubicBezTo>
                  <a:pt x="3717306" y="176966"/>
                  <a:pt x="3749235" y="166378"/>
                  <a:pt x="3779520" y="152400"/>
                </a:cubicBezTo>
                <a:cubicBezTo>
                  <a:pt x="3906719" y="93693"/>
                  <a:pt x="3717343" y="178408"/>
                  <a:pt x="3870960" y="101600"/>
                </a:cubicBezTo>
                <a:cubicBezTo>
                  <a:pt x="3887272" y="93444"/>
                  <a:pt x="3904620" y="87513"/>
                  <a:pt x="3921760" y="81280"/>
                </a:cubicBezTo>
                <a:cubicBezTo>
                  <a:pt x="3971240" y="63287"/>
                  <a:pt x="4022023" y="48661"/>
                  <a:pt x="4074160" y="40640"/>
                </a:cubicBezTo>
                <a:cubicBezTo>
                  <a:pt x="4101147" y="36488"/>
                  <a:pt x="4128453" y="34632"/>
                  <a:pt x="4155440" y="30480"/>
                </a:cubicBezTo>
                <a:cubicBezTo>
                  <a:pt x="4172508" y="27854"/>
                  <a:pt x="4189172" y="22946"/>
                  <a:pt x="4206240" y="20320"/>
                </a:cubicBezTo>
                <a:cubicBezTo>
                  <a:pt x="4290122" y="7415"/>
                  <a:pt x="4307204" y="29844"/>
                  <a:pt x="427736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Oval 6"/>
          <p:cNvSpPr/>
          <p:nvPr/>
        </p:nvSpPr>
        <p:spPr>
          <a:xfrm>
            <a:off x="9503399" y="6231929"/>
            <a:ext cx="320582" cy="416109"/>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 name="Oval 7"/>
          <p:cNvSpPr/>
          <p:nvPr/>
        </p:nvSpPr>
        <p:spPr>
          <a:xfrm>
            <a:off x="7264179" y="3502120"/>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9" name="Oval 8"/>
          <p:cNvSpPr/>
          <p:nvPr/>
        </p:nvSpPr>
        <p:spPr>
          <a:xfrm>
            <a:off x="7426090" y="4000804"/>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Oval 9"/>
          <p:cNvSpPr/>
          <p:nvPr/>
        </p:nvSpPr>
        <p:spPr>
          <a:xfrm>
            <a:off x="7803339" y="3335352"/>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 name="Oval 10"/>
          <p:cNvSpPr/>
          <p:nvPr/>
        </p:nvSpPr>
        <p:spPr>
          <a:xfrm>
            <a:off x="7586381" y="423881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 name="Oval 11"/>
          <p:cNvSpPr/>
          <p:nvPr/>
        </p:nvSpPr>
        <p:spPr>
          <a:xfrm>
            <a:off x="8099636" y="3824321"/>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3" name="Oval 12"/>
          <p:cNvSpPr/>
          <p:nvPr/>
        </p:nvSpPr>
        <p:spPr>
          <a:xfrm>
            <a:off x="6943597" y="4135189"/>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4" name="Oval 13"/>
          <p:cNvSpPr/>
          <p:nvPr/>
        </p:nvSpPr>
        <p:spPr>
          <a:xfrm>
            <a:off x="6741208" y="4368339"/>
            <a:ext cx="322201"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5" name="Oval 14"/>
          <p:cNvSpPr/>
          <p:nvPr/>
        </p:nvSpPr>
        <p:spPr>
          <a:xfrm>
            <a:off x="8099636" y="4881596"/>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6" name="Oval 15"/>
          <p:cNvSpPr/>
          <p:nvPr/>
        </p:nvSpPr>
        <p:spPr>
          <a:xfrm>
            <a:off x="6668349" y="5866010"/>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7" name="Oval 16"/>
          <p:cNvSpPr/>
          <p:nvPr/>
        </p:nvSpPr>
        <p:spPr>
          <a:xfrm>
            <a:off x="6580918" y="525560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8" name="Oval 17"/>
          <p:cNvSpPr/>
          <p:nvPr/>
        </p:nvSpPr>
        <p:spPr>
          <a:xfrm>
            <a:off x="7264179" y="5524379"/>
            <a:ext cx="32220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9" name="Oval 18"/>
          <p:cNvSpPr/>
          <p:nvPr/>
        </p:nvSpPr>
        <p:spPr>
          <a:xfrm>
            <a:off x="9595687" y="3294875"/>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0" name="Oval 19"/>
          <p:cNvSpPr/>
          <p:nvPr/>
        </p:nvSpPr>
        <p:spPr>
          <a:xfrm>
            <a:off x="9550353" y="3942516"/>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1" name="Oval 20"/>
          <p:cNvSpPr/>
          <p:nvPr/>
        </p:nvSpPr>
        <p:spPr>
          <a:xfrm>
            <a:off x="9917890" y="3035818"/>
            <a:ext cx="32058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2" name="Oval 21"/>
          <p:cNvSpPr/>
          <p:nvPr/>
        </p:nvSpPr>
        <p:spPr>
          <a:xfrm>
            <a:off x="10342093" y="3824321"/>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3" name="Oval 22"/>
          <p:cNvSpPr/>
          <p:nvPr/>
        </p:nvSpPr>
        <p:spPr>
          <a:xfrm>
            <a:off x="10181803" y="3035820"/>
            <a:ext cx="320582" cy="416109"/>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4" name="Oval 23"/>
          <p:cNvSpPr/>
          <p:nvPr/>
        </p:nvSpPr>
        <p:spPr>
          <a:xfrm>
            <a:off x="8980428" y="3982993"/>
            <a:ext cx="320582" cy="416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5" name="Oval 24"/>
          <p:cNvSpPr/>
          <p:nvPr/>
        </p:nvSpPr>
        <p:spPr>
          <a:xfrm>
            <a:off x="8818518" y="3346686"/>
            <a:ext cx="322202"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6" name="Oval 25"/>
          <p:cNvSpPr/>
          <p:nvPr/>
        </p:nvSpPr>
        <p:spPr>
          <a:xfrm>
            <a:off x="7426090" y="4988457"/>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7" name="Oval 26"/>
          <p:cNvSpPr/>
          <p:nvPr/>
        </p:nvSpPr>
        <p:spPr>
          <a:xfrm>
            <a:off x="8259928" y="5817437"/>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8" name="Oval 27"/>
          <p:cNvSpPr/>
          <p:nvPr/>
        </p:nvSpPr>
        <p:spPr>
          <a:xfrm>
            <a:off x="8695466" y="5402947"/>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29" name="Oval 28"/>
          <p:cNvSpPr/>
          <p:nvPr/>
        </p:nvSpPr>
        <p:spPr>
          <a:xfrm>
            <a:off x="9067860" y="6002015"/>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0" name="Oval 29"/>
          <p:cNvSpPr/>
          <p:nvPr/>
        </p:nvSpPr>
        <p:spPr>
          <a:xfrm>
            <a:off x="7824389" y="5255608"/>
            <a:ext cx="320582" cy="41449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32" name="Oval 31"/>
          <p:cNvSpPr/>
          <p:nvPr/>
        </p:nvSpPr>
        <p:spPr>
          <a:xfrm>
            <a:off x="9435395" y="3544217"/>
            <a:ext cx="322201" cy="41449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6" name="Straight Connector 5"/>
          <p:cNvCxnSpPr/>
          <p:nvPr/>
        </p:nvCxnSpPr>
        <p:spPr>
          <a:xfrm flipV="1">
            <a:off x="6192333" y="4446058"/>
            <a:ext cx="4875120" cy="54240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6104901" y="1170613"/>
            <a:ext cx="268771" cy="5823913"/>
          </a:xfrm>
          <a:prstGeom prst="line">
            <a:avLst/>
          </a:prstGeom>
          <a:ln w="25400">
            <a:solidFill>
              <a:srgbClr val="993300"/>
            </a:solidFill>
          </a:ln>
        </p:spPr>
        <p:style>
          <a:lnRef idx="1">
            <a:schemeClr val="accent1"/>
          </a:lnRef>
          <a:fillRef idx="0">
            <a:schemeClr val="accent1"/>
          </a:fillRef>
          <a:effectRef idx="0">
            <a:schemeClr val="accent1"/>
          </a:effectRef>
          <a:fontRef idx="minor">
            <a:schemeClr val="tx1"/>
          </a:fontRef>
        </p:style>
      </p:cxnSp>
      <p:sp>
        <p:nvSpPr>
          <p:cNvPr id="33"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Boundaries</a:t>
            </a:r>
          </a:p>
        </p:txBody>
      </p:sp>
      <p:pic>
        <p:nvPicPr>
          <p:cNvPr id="3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08975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2" name="Rectangle 11"/>
          <p:cNvSpPr>
            <a:spLocks noChangeArrowheads="1"/>
          </p:cNvSpPr>
          <p:nvPr/>
        </p:nvSpPr>
        <p:spPr bwMode="auto">
          <a:xfrm>
            <a:off x="5478307" y="2647233"/>
            <a:ext cx="310868" cy="31086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dirty="0"/>
          </a:p>
        </p:txBody>
      </p:sp>
      <p:sp>
        <p:nvSpPr>
          <p:cNvPr id="34823" name="Rectangle 11"/>
          <p:cNvSpPr>
            <a:spLocks noChangeArrowheads="1"/>
          </p:cNvSpPr>
          <p:nvPr/>
        </p:nvSpPr>
        <p:spPr bwMode="auto">
          <a:xfrm>
            <a:off x="5499355" y="3259254"/>
            <a:ext cx="310868" cy="31086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dirty="0"/>
          </a:p>
        </p:txBody>
      </p:sp>
      <p:sp>
        <p:nvSpPr>
          <p:cNvPr id="34824" name="Rectangle 4"/>
          <p:cNvSpPr>
            <a:spLocks noChangeArrowheads="1"/>
          </p:cNvSpPr>
          <p:nvPr/>
        </p:nvSpPr>
        <p:spPr bwMode="auto">
          <a:xfrm>
            <a:off x="5489641" y="3829179"/>
            <a:ext cx="310868" cy="31086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dirty="0"/>
          </a:p>
        </p:txBody>
      </p:sp>
      <p:sp>
        <p:nvSpPr>
          <p:cNvPr id="34825" name="Rectangle 129"/>
          <p:cNvSpPr>
            <a:spLocks noChangeArrowheads="1"/>
          </p:cNvSpPr>
          <p:nvPr/>
        </p:nvSpPr>
        <p:spPr bwMode="auto">
          <a:xfrm>
            <a:off x="5518784" y="4502725"/>
            <a:ext cx="310868" cy="310868"/>
          </a:xfrm>
          <a:prstGeom prst="rect">
            <a:avLst/>
          </a:prstGeom>
          <a:solidFill>
            <a:srgbClr val="000000"/>
          </a:solidFill>
          <a:ln w="9525">
            <a:solidFill>
              <a:schemeClr val="tx1"/>
            </a:solidFill>
            <a:miter lim="800000"/>
            <a:headEnd/>
            <a:tailEnd/>
          </a:ln>
        </p:spPr>
        <p:txBody>
          <a:bodyPr wrap="none" anchor="ct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dirty="0"/>
          </a:p>
        </p:txBody>
      </p:sp>
      <p:sp>
        <p:nvSpPr>
          <p:cNvPr id="34826" name="Rectangle 129"/>
          <p:cNvSpPr>
            <a:spLocks noChangeArrowheads="1"/>
          </p:cNvSpPr>
          <p:nvPr/>
        </p:nvSpPr>
        <p:spPr bwMode="auto">
          <a:xfrm>
            <a:off x="5518784" y="5185987"/>
            <a:ext cx="310868" cy="310868"/>
          </a:xfrm>
          <a:prstGeom prst="rect">
            <a:avLst/>
          </a:prstGeom>
          <a:solidFill>
            <a:srgbClr val="000000"/>
          </a:solidFill>
          <a:ln w="9525">
            <a:solidFill>
              <a:schemeClr val="tx1"/>
            </a:solidFill>
            <a:miter lim="800000"/>
            <a:headEnd/>
            <a:tailEnd/>
          </a:ln>
        </p:spPr>
        <p:txBody>
          <a:bodyPr wrap="none" anchor="ct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dirty="0"/>
          </a:p>
        </p:txBody>
      </p:sp>
      <p:sp>
        <p:nvSpPr>
          <p:cNvPr id="34827" name="Rectangle 129"/>
          <p:cNvSpPr>
            <a:spLocks noChangeArrowheads="1"/>
          </p:cNvSpPr>
          <p:nvPr/>
        </p:nvSpPr>
        <p:spPr bwMode="auto">
          <a:xfrm>
            <a:off x="5549548" y="6222213"/>
            <a:ext cx="310868" cy="310868"/>
          </a:xfrm>
          <a:prstGeom prst="rect">
            <a:avLst/>
          </a:prstGeom>
          <a:solidFill>
            <a:srgbClr val="000000"/>
          </a:solidFill>
          <a:ln w="9525">
            <a:solidFill>
              <a:schemeClr val="tx1"/>
            </a:solidFill>
            <a:miter lim="800000"/>
            <a:headEnd/>
            <a:tailEnd/>
          </a:ln>
        </p:spPr>
        <p:txBody>
          <a:bodyPr wrap="none" anchor="ct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1363" y="1595011"/>
            <a:ext cx="3080387" cy="1911965"/>
          </a:xfrm>
          <a:prstGeom prst="rect">
            <a:avLst/>
          </a:prstGeom>
        </p:spPr>
      </p:pic>
      <p:sp>
        <p:nvSpPr>
          <p:cNvPr id="107"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Feature Detectors</a:t>
            </a:r>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31982" y="1491176"/>
            <a:ext cx="6981825" cy="5168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01159" y="40983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105"/>
          <p:cNvPicPr>
            <a:picLocks noChangeAspect="1"/>
          </p:cNvPicPr>
          <p:nvPr/>
        </p:nvPicPr>
        <p:blipFill>
          <a:blip r:embed="rId6"/>
          <a:stretch>
            <a:fillRect/>
          </a:stretch>
        </p:blipFill>
        <p:spPr>
          <a:xfrm>
            <a:off x="1852412" y="3570122"/>
            <a:ext cx="2378288" cy="3026105"/>
          </a:xfrm>
          <a:prstGeom prst="rect">
            <a:avLst/>
          </a:prstGeom>
        </p:spPr>
      </p:pic>
    </p:spTree>
    <p:extLst>
      <p:ext uri="{BB962C8B-B14F-4D97-AF65-F5344CB8AC3E}">
        <p14:creationId xmlns:p14="http://schemas.microsoft.com/office/powerpoint/2010/main" val="24088699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3133" y="1685332"/>
            <a:ext cx="3150174" cy="1876696"/>
          </a:xfrm>
          <a:prstGeom prst="rect">
            <a:avLst/>
          </a:prstGeom>
        </p:spPr>
      </p:pic>
      <p:sp>
        <p:nvSpPr>
          <p:cNvPr id="107"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What Is This Unit Doing?</a:t>
            </a:r>
          </a:p>
        </p:txBody>
      </p:sp>
      <p:pic>
        <p:nvPicPr>
          <p:cNvPr id="10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01159" y="40983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107"/>
          <p:cNvPicPr>
            <a:picLocks noChangeAspect="1"/>
          </p:cNvPicPr>
          <p:nvPr/>
        </p:nvPicPr>
        <p:blipFill>
          <a:blip r:embed="rId5"/>
          <a:stretch>
            <a:fillRect/>
          </a:stretch>
        </p:blipFill>
        <p:spPr>
          <a:xfrm>
            <a:off x="1852412" y="3570122"/>
            <a:ext cx="2378288" cy="3026105"/>
          </a:xfrm>
          <a:prstGeom prst="rect">
            <a:avLst/>
          </a:prstGeom>
        </p:spPr>
      </p:pic>
      <p:pic>
        <p:nvPicPr>
          <p:cNvPr id="3" name="Picture 2"/>
          <p:cNvPicPr>
            <a:picLocks noChangeAspect="1"/>
          </p:cNvPicPr>
          <p:nvPr/>
        </p:nvPicPr>
        <p:blipFill rotWithShape="1">
          <a:blip r:embed="rId6"/>
          <a:srcRect l="40402" t="38722" r="27242" b="19445"/>
          <a:stretch/>
        </p:blipFill>
        <p:spPr>
          <a:xfrm>
            <a:off x="5094513" y="1454332"/>
            <a:ext cx="7223523" cy="5253472"/>
          </a:xfrm>
          <a:prstGeom prst="rect">
            <a:avLst/>
          </a:prstGeom>
        </p:spPr>
      </p:pic>
    </p:spTree>
    <p:extLst>
      <p:ext uri="{BB962C8B-B14F-4D97-AF65-F5344CB8AC3E}">
        <p14:creationId xmlns:p14="http://schemas.microsoft.com/office/powerpoint/2010/main" val="7519798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Title 2"/>
          <p:cNvSpPr txBox="1">
            <a:spLocks/>
          </p:cNvSpPr>
          <p:nvPr/>
        </p:nvSpPr>
        <p:spPr>
          <a:xfrm>
            <a:off x="673035" y="332677"/>
            <a:ext cx="11763440" cy="10953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b="1" dirty="0"/>
              <a:t>Hidden Layer Units Become Self-Organised Feature Detectors</a:t>
            </a:r>
          </a:p>
        </p:txBody>
      </p:sp>
      <p:pic>
        <p:nvPicPr>
          <p:cNvPr id="16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7" name="Picture 166"/>
          <p:cNvPicPr>
            <a:picLocks noChangeAspect="1"/>
          </p:cNvPicPr>
          <p:nvPr/>
        </p:nvPicPr>
        <p:blipFill>
          <a:blip r:embed="rId4"/>
          <a:stretch>
            <a:fillRect/>
          </a:stretch>
        </p:blipFill>
        <p:spPr>
          <a:xfrm>
            <a:off x="344759" y="3434468"/>
            <a:ext cx="2552700" cy="3248025"/>
          </a:xfrm>
          <a:prstGeom prst="rect">
            <a:avLst/>
          </a:prstGeom>
        </p:spPr>
      </p:pic>
      <p:pic>
        <p:nvPicPr>
          <p:cNvPr id="2" name="Picture 1"/>
          <p:cNvPicPr>
            <a:picLocks noChangeAspect="1"/>
          </p:cNvPicPr>
          <p:nvPr/>
        </p:nvPicPr>
        <p:blipFill>
          <a:blip r:embed="rId5"/>
          <a:stretch>
            <a:fillRect/>
          </a:stretch>
        </p:blipFill>
        <p:spPr>
          <a:xfrm>
            <a:off x="2897459" y="1515110"/>
            <a:ext cx="9193279" cy="3283314"/>
          </a:xfrm>
          <a:prstGeom prst="rect">
            <a:avLst/>
          </a:prstGeom>
        </p:spPr>
      </p:pic>
    </p:spTree>
    <p:extLst>
      <p:ext uri="{BB962C8B-B14F-4D97-AF65-F5344CB8AC3E}">
        <p14:creationId xmlns:p14="http://schemas.microsoft.com/office/powerpoint/2010/main" val="18139900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8" name="Straight Connector 307"/>
          <p:cNvCxnSpPr/>
          <p:nvPr/>
        </p:nvCxnSpPr>
        <p:spPr>
          <a:xfrm>
            <a:off x="7866485" y="4502725"/>
            <a:ext cx="2310461" cy="0"/>
          </a:xfrm>
          <a:prstGeom prst="line">
            <a:avLst/>
          </a:prstGeom>
          <a:ln w="4762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H="1">
            <a:off x="7892391" y="5258846"/>
            <a:ext cx="2185789" cy="0"/>
          </a:xfrm>
          <a:prstGeom prst="line">
            <a:avLst/>
          </a:prstGeom>
          <a:ln w="6350">
            <a:solidFill>
              <a:srgbClr val="FFC000"/>
            </a:solidFill>
          </a:ln>
        </p:spPr>
        <p:style>
          <a:lnRef idx="1">
            <a:schemeClr val="accent1"/>
          </a:lnRef>
          <a:fillRef idx="0">
            <a:schemeClr val="accent1"/>
          </a:fillRef>
          <a:effectRef idx="0">
            <a:schemeClr val="accent1"/>
          </a:effectRef>
          <a:fontRef idx="minor">
            <a:schemeClr val="tx1"/>
          </a:fontRef>
        </p:style>
      </p:cxnSp>
      <p:sp>
        <p:nvSpPr>
          <p:cNvPr id="39078" name="TextBox 310"/>
          <p:cNvSpPr txBox="1">
            <a:spLocks noChangeArrowheads="1"/>
          </p:cNvSpPr>
          <p:nvPr/>
        </p:nvSpPr>
        <p:spPr bwMode="auto">
          <a:xfrm>
            <a:off x="7892390" y="4046139"/>
            <a:ext cx="2500111"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t>strong +ve weight</a:t>
            </a:r>
          </a:p>
        </p:txBody>
      </p:sp>
      <p:sp>
        <p:nvSpPr>
          <p:cNvPr id="39079" name="TextBox 313"/>
          <p:cNvSpPr txBox="1">
            <a:spLocks noChangeArrowheads="1"/>
          </p:cNvSpPr>
          <p:nvPr/>
        </p:nvSpPr>
        <p:spPr bwMode="auto">
          <a:xfrm>
            <a:off x="7906964" y="4719686"/>
            <a:ext cx="2256509"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t>low/zero weight</a:t>
            </a:r>
          </a:p>
        </p:txBody>
      </p:sp>
      <p:sp>
        <p:nvSpPr>
          <p:cNvPr id="39082" name="TextBox 5"/>
          <p:cNvSpPr txBox="1">
            <a:spLocks noChangeArrowheads="1"/>
          </p:cNvSpPr>
          <p:nvPr/>
        </p:nvSpPr>
        <p:spPr bwMode="auto">
          <a:xfrm>
            <a:off x="4890573" y="5365708"/>
            <a:ext cx="6295762" cy="845744"/>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t>Strong signal for a horizontal line in the top row,</a:t>
            </a:r>
          </a:p>
          <a:p>
            <a:pPr eaLnBrk="1" hangingPunct="1">
              <a:spcBef>
                <a:spcPct val="0"/>
              </a:spcBef>
              <a:buFontTx/>
              <a:buNone/>
            </a:pPr>
            <a:r>
              <a:rPr lang="en-GB" altLang="en-US" sz="2448" dirty="0"/>
              <a:t>ignoring everywhere else </a:t>
            </a:r>
          </a:p>
        </p:txBody>
      </p:sp>
      <p:sp>
        <p:nvSpPr>
          <p:cNvPr id="172"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What Does This Unit Detect?</a:t>
            </a:r>
          </a:p>
        </p:txBody>
      </p:sp>
      <p:pic>
        <p:nvPicPr>
          <p:cNvPr id="17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30758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0" name="Picture 169"/>
          <p:cNvPicPr>
            <a:picLocks noChangeAspect="1"/>
          </p:cNvPicPr>
          <p:nvPr/>
        </p:nvPicPr>
        <p:blipFill>
          <a:blip r:embed="rId4"/>
          <a:stretch>
            <a:fillRect/>
          </a:stretch>
        </p:blipFill>
        <p:spPr>
          <a:xfrm>
            <a:off x="344759" y="3434468"/>
            <a:ext cx="2552700" cy="3248025"/>
          </a:xfrm>
          <a:prstGeom prst="rect">
            <a:avLst/>
          </a:prstGeom>
        </p:spPr>
      </p:pic>
      <p:pic>
        <p:nvPicPr>
          <p:cNvPr id="2" name="Picture 1"/>
          <p:cNvPicPr>
            <a:picLocks noChangeAspect="1"/>
          </p:cNvPicPr>
          <p:nvPr/>
        </p:nvPicPr>
        <p:blipFill>
          <a:blip r:embed="rId5"/>
          <a:stretch>
            <a:fillRect/>
          </a:stretch>
        </p:blipFill>
        <p:spPr>
          <a:xfrm>
            <a:off x="3166501" y="1393042"/>
            <a:ext cx="7679051" cy="2742518"/>
          </a:xfrm>
          <a:prstGeom prst="rect">
            <a:avLst/>
          </a:prstGeom>
        </p:spPr>
      </p:pic>
    </p:spTree>
    <p:extLst>
      <p:ext uri="{BB962C8B-B14F-4D97-AF65-F5344CB8AC3E}">
        <p14:creationId xmlns:p14="http://schemas.microsoft.com/office/powerpoint/2010/main" val="12393274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2141336" y="302772"/>
            <a:ext cx="7927128" cy="1165754"/>
          </a:xfrm>
        </p:spPr>
        <p:txBody>
          <a:bodyPr/>
          <a:lstStyle/>
          <a:p>
            <a:r>
              <a:rPr lang="en-GB" altLang="en-US" dirty="0">
                <a:solidFill>
                  <a:srgbClr val="FF3300"/>
                </a:solidFill>
              </a:rPr>
              <a:t> </a:t>
            </a:r>
            <a:endParaRPr lang="en-GB" altLang="en-US" i="1" dirty="0">
              <a:solidFill>
                <a:srgbClr val="FF3300"/>
              </a:solidFill>
            </a:endParaRPr>
          </a:p>
        </p:txBody>
      </p:sp>
      <p:sp>
        <p:nvSpPr>
          <p:cNvPr id="41987" name="TextBox 5"/>
          <p:cNvSpPr txBox="1">
            <a:spLocks noChangeArrowheads="1"/>
          </p:cNvSpPr>
          <p:nvPr/>
        </p:nvSpPr>
        <p:spPr bwMode="auto">
          <a:xfrm>
            <a:off x="3025366" y="4836260"/>
            <a:ext cx="5939575" cy="845744"/>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dirty="0">
                <a:latin typeface="Segoe UI Light" pitchFamily="34" charset="0"/>
                <a:cs typeface="Segoe UI Light" pitchFamily="34" charset="0"/>
              </a:rPr>
              <a:t>What features might you expect a good NN</a:t>
            </a:r>
          </a:p>
          <a:p>
            <a:pPr eaLnBrk="1" hangingPunct="1">
              <a:spcBef>
                <a:spcPct val="0"/>
              </a:spcBef>
              <a:buFontTx/>
              <a:buNone/>
            </a:pPr>
            <a:r>
              <a:rPr lang="en-GB" altLang="en-US" sz="2448" dirty="0">
                <a:latin typeface="Segoe UI Light" pitchFamily="34" charset="0"/>
                <a:cs typeface="Segoe UI Light" pitchFamily="34" charset="0"/>
              </a:rPr>
              <a:t>to learn, when trained with data like thi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5397" y="687084"/>
            <a:ext cx="6362057" cy="3948864"/>
          </a:xfrm>
          <a:prstGeom prst="rect">
            <a:avLst/>
          </a:prstGeom>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24011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602549" y="1630666"/>
            <a:ext cx="10724938" cy="4198480"/>
          </a:xfrm>
          <a:solidFill>
            <a:schemeClr val="bg1"/>
          </a:solidFill>
        </p:spPr>
        <p:txBody>
          <a:bodyPr>
            <a:noAutofit/>
          </a:bodyPr>
          <a:lstStyle/>
          <a:p>
            <a:pPr marL="0" indent="0">
              <a:buNone/>
            </a:pPr>
            <a:r>
              <a:rPr lang="en-US" sz="3300" dirty="0"/>
              <a:t>DL models has been around for a long time </a:t>
            </a:r>
          </a:p>
          <a:p>
            <a:r>
              <a:rPr lang="en-US" sz="3300" dirty="0">
                <a:latin typeface="+mj-lt"/>
              </a:rPr>
              <a:t>Fukushima (1980) – Neo-</a:t>
            </a:r>
            <a:r>
              <a:rPr lang="en-US" sz="3300" dirty="0" err="1">
                <a:latin typeface="+mj-lt"/>
              </a:rPr>
              <a:t>Cognitron</a:t>
            </a:r>
            <a:r>
              <a:rPr lang="en-US" sz="3300" dirty="0">
                <a:latin typeface="+mj-lt"/>
              </a:rPr>
              <a:t> </a:t>
            </a:r>
          </a:p>
          <a:p>
            <a:r>
              <a:rPr lang="en-US" sz="3300" dirty="0" err="1">
                <a:latin typeface="+mj-lt"/>
              </a:rPr>
              <a:t>LeCun</a:t>
            </a:r>
            <a:r>
              <a:rPr lang="en-US" sz="3300" dirty="0">
                <a:latin typeface="+mj-lt"/>
              </a:rPr>
              <a:t> (1989) – Convolutional Neural Network</a:t>
            </a:r>
          </a:p>
          <a:p>
            <a:pPr marL="932597" lvl="2" indent="0">
              <a:buNone/>
            </a:pPr>
            <a:endParaRPr lang="en-US" sz="3300" dirty="0">
              <a:latin typeface="+mj-lt"/>
            </a:endParaRPr>
          </a:p>
          <a:p>
            <a:pPr marL="0" indent="0">
              <a:buNone/>
            </a:pPr>
            <a:r>
              <a:rPr lang="en-US" sz="3300" dirty="0"/>
              <a:t>DL popularity grew recently</a:t>
            </a:r>
          </a:p>
          <a:p>
            <a:r>
              <a:rPr lang="en-US" sz="3300" dirty="0">
                <a:latin typeface="+mj-lt"/>
              </a:rPr>
              <a:t>With growth of Big Data</a:t>
            </a:r>
          </a:p>
          <a:p>
            <a:r>
              <a:rPr lang="en-US" sz="3300" dirty="0">
                <a:latin typeface="+mj-lt"/>
              </a:rPr>
              <a:t>With the advent of powerful GPUs</a:t>
            </a:r>
          </a:p>
          <a:p>
            <a:pPr>
              <a:buFont typeface="Wingdings" panose="05000000000000000000" pitchFamily="2" charset="2"/>
              <a:buChar char="q"/>
            </a:pPr>
            <a:endParaRPr lang="en-US" sz="3300" dirty="0"/>
          </a:p>
        </p:txBody>
      </p:sp>
      <p:sp>
        <p:nvSpPr>
          <p:cNvPr id="6" name="Title 2"/>
          <p:cNvSpPr txBox="1">
            <a:spLocks/>
          </p:cNvSpPr>
          <p:nvPr/>
        </p:nvSpPr>
        <p:spPr>
          <a:xfrm>
            <a:off x="673035" y="332677"/>
            <a:ext cx="11298571"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Why Is Deep Learning Popular?</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17622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2141336" y="302772"/>
            <a:ext cx="7927128" cy="1165754"/>
          </a:xfrm>
        </p:spPr>
        <p:txBody>
          <a:bodyPr/>
          <a:lstStyle/>
          <a:p>
            <a:r>
              <a:rPr lang="en-GB" altLang="en-US" dirty="0">
                <a:solidFill>
                  <a:srgbClr val="FF3300"/>
                </a:solidFill>
              </a:rPr>
              <a:t> </a:t>
            </a:r>
            <a:endParaRPr lang="en-GB" altLang="en-US" i="1" dirty="0">
              <a:solidFill>
                <a:srgbClr val="FF3300"/>
              </a:solidFill>
            </a:endParaRPr>
          </a:p>
        </p:txBody>
      </p:sp>
      <p:sp>
        <p:nvSpPr>
          <p:cNvPr id="43011" name="TextBox 262"/>
          <p:cNvSpPr txBox="1">
            <a:spLocks noChangeArrowheads="1"/>
          </p:cNvSpPr>
          <p:nvPr/>
        </p:nvSpPr>
        <p:spPr bwMode="auto">
          <a:xfrm>
            <a:off x="3847871" y="6549272"/>
            <a:ext cx="188409"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4450">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b="1" dirty="0"/>
          </a:p>
        </p:txBody>
      </p:sp>
      <p:pic>
        <p:nvPicPr>
          <p:cNvPr id="43012" name="Picture 4" descr="https://onlinecourses.science.psu.edu/stat857/sites/onlinecourses.science.psu.edu.stat857/files/image_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9806" y="103622"/>
            <a:ext cx="8688107" cy="6304817"/>
          </a:xfrm>
          <a:prstGeom prst="rect">
            <a:avLst/>
          </a:prstGeom>
          <a:solidFill>
            <a:schemeClr val="bg1"/>
          </a:solidFill>
          <a:ln>
            <a:noFill/>
          </a:ln>
        </p:spPr>
      </p:pic>
      <p:sp>
        <p:nvSpPr>
          <p:cNvPr id="43014" name="TextBox 2"/>
          <p:cNvSpPr txBox="1">
            <a:spLocks noChangeArrowheads="1"/>
          </p:cNvSpPr>
          <p:nvPr/>
        </p:nvSpPr>
        <p:spPr bwMode="auto">
          <a:xfrm>
            <a:off x="6870737" y="1512243"/>
            <a:ext cx="2933364" cy="734534"/>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4080" dirty="0">
                <a:latin typeface="Segoe UI Light" pitchFamily="34" charset="0"/>
                <a:cs typeface="Segoe UI Light" pitchFamily="34" charset="0"/>
              </a:rPr>
              <a:t>vertical lines</a:t>
            </a:r>
          </a:p>
        </p:txBody>
      </p:sp>
      <p:cxnSp>
        <p:nvCxnSpPr>
          <p:cNvPr id="5" name="Straight Arrow Connector 4"/>
          <p:cNvCxnSpPr/>
          <p:nvPr/>
        </p:nvCxnSpPr>
        <p:spPr>
          <a:xfrm flipH="1" flipV="1">
            <a:off x="3399379" y="786885"/>
            <a:ext cx="3471357" cy="1086419"/>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flipH="1">
            <a:off x="5834510" y="2234362"/>
            <a:ext cx="1036226" cy="1781013"/>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8000870" y="2155026"/>
            <a:ext cx="2072452" cy="1502528"/>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977316" y="5244824"/>
            <a:ext cx="8513214" cy="1304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16203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2141336" y="302772"/>
            <a:ext cx="7927128" cy="1165754"/>
          </a:xfrm>
        </p:spPr>
        <p:txBody>
          <a:bodyPr/>
          <a:lstStyle/>
          <a:p>
            <a:r>
              <a:rPr lang="en-GB" altLang="en-US" dirty="0">
                <a:solidFill>
                  <a:srgbClr val="FF3300"/>
                </a:solidFill>
              </a:rPr>
              <a:t> </a:t>
            </a:r>
            <a:endParaRPr lang="en-GB" altLang="en-US" i="1" dirty="0">
              <a:solidFill>
                <a:srgbClr val="FF3300"/>
              </a:solidFill>
            </a:endParaRPr>
          </a:p>
        </p:txBody>
      </p:sp>
      <p:sp>
        <p:nvSpPr>
          <p:cNvPr id="44035" name="TextBox 262"/>
          <p:cNvSpPr txBox="1">
            <a:spLocks noChangeArrowheads="1"/>
          </p:cNvSpPr>
          <p:nvPr/>
        </p:nvSpPr>
        <p:spPr bwMode="auto">
          <a:xfrm>
            <a:off x="3847872" y="6549272"/>
            <a:ext cx="508786"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4450">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t>63</a:t>
            </a:r>
          </a:p>
        </p:txBody>
      </p:sp>
      <p:pic>
        <p:nvPicPr>
          <p:cNvPr id="44036" name="Picture 4" descr="https://onlinecourses.science.psu.edu/stat857/sites/onlinecourses.science.psu.edu.stat857/files/image_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9806" y="103622"/>
            <a:ext cx="8688107" cy="6890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7" name="TextBox 100"/>
          <p:cNvSpPr txBox="1">
            <a:spLocks noChangeArrowheads="1"/>
          </p:cNvSpPr>
          <p:nvPr/>
        </p:nvSpPr>
        <p:spPr bwMode="auto">
          <a:xfrm>
            <a:off x="1537410" y="3544217"/>
            <a:ext cx="188409"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b="1" dirty="0"/>
          </a:p>
        </p:txBody>
      </p:sp>
      <p:sp>
        <p:nvSpPr>
          <p:cNvPr id="44038" name="TextBox 2"/>
          <p:cNvSpPr txBox="1">
            <a:spLocks noChangeArrowheads="1"/>
          </p:cNvSpPr>
          <p:nvPr/>
        </p:nvSpPr>
        <p:spPr bwMode="auto">
          <a:xfrm>
            <a:off x="6870736" y="1512243"/>
            <a:ext cx="3615123" cy="734534"/>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4080" dirty="0">
                <a:latin typeface="Segoe UI Light" pitchFamily="34" charset="0"/>
                <a:cs typeface="Segoe UI Light" pitchFamily="34" charset="0"/>
              </a:rPr>
              <a:t>Horizontal lines</a:t>
            </a:r>
          </a:p>
        </p:txBody>
      </p:sp>
      <p:cxnSp>
        <p:nvCxnSpPr>
          <p:cNvPr id="5" name="Straight Arrow Connector 4"/>
          <p:cNvCxnSpPr/>
          <p:nvPr/>
        </p:nvCxnSpPr>
        <p:spPr>
          <a:xfrm flipH="1" flipV="1">
            <a:off x="2478109" y="984414"/>
            <a:ext cx="4392627" cy="888888"/>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flipH="1">
            <a:off x="4098832" y="2234363"/>
            <a:ext cx="2771904" cy="1546244"/>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8000870" y="2155027"/>
            <a:ext cx="155434" cy="2477228"/>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045764" y="5766740"/>
            <a:ext cx="8372426" cy="1086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0000"/>
              </a:solidFill>
            </a:endParaRP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79581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2141336" y="302772"/>
            <a:ext cx="7927128" cy="1165754"/>
          </a:xfrm>
        </p:spPr>
        <p:txBody>
          <a:bodyPr/>
          <a:lstStyle/>
          <a:p>
            <a:r>
              <a:rPr lang="en-GB" altLang="en-US" dirty="0">
                <a:solidFill>
                  <a:srgbClr val="FF3300"/>
                </a:solidFill>
              </a:rPr>
              <a:t> </a:t>
            </a:r>
            <a:endParaRPr lang="en-GB" altLang="en-US" i="1" dirty="0">
              <a:solidFill>
                <a:srgbClr val="FF3300"/>
              </a:solidFill>
            </a:endParaRPr>
          </a:p>
        </p:txBody>
      </p:sp>
      <p:sp>
        <p:nvSpPr>
          <p:cNvPr id="45059" name="TextBox 262"/>
          <p:cNvSpPr txBox="1">
            <a:spLocks noChangeArrowheads="1"/>
          </p:cNvSpPr>
          <p:nvPr/>
        </p:nvSpPr>
        <p:spPr bwMode="auto">
          <a:xfrm>
            <a:off x="3847872" y="6549272"/>
            <a:ext cx="508786"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4450">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t>63</a:t>
            </a:r>
          </a:p>
        </p:txBody>
      </p:sp>
      <p:pic>
        <p:nvPicPr>
          <p:cNvPr id="45060" name="Picture 4" descr="https://onlinecourses.science.psu.edu/stat857/sites/onlinecourses.science.psu.edu.stat857/files/image_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9806" y="103622"/>
            <a:ext cx="8688107" cy="6890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1" name="TextBox 100"/>
          <p:cNvSpPr txBox="1">
            <a:spLocks noChangeArrowheads="1"/>
          </p:cNvSpPr>
          <p:nvPr/>
        </p:nvSpPr>
        <p:spPr bwMode="auto">
          <a:xfrm>
            <a:off x="1537410" y="3544217"/>
            <a:ext cx="188409"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endParaRPr lang="en-GB" altLang="en-US" sz="2448" b="1" dirty="0"/>
          </a:p>
        </p:txBody>
      </p:sp>
      <p:sp>
        <p:nvSpPr>
          <p:cNvPr id="45062" name="TextBox 2"/>
          <p:cNvSpPr txBox="1">
            <a:spLocks noChangeArrowheads="1"/>
          </p:cNvSpPr>
          <p:nvPr/>
        </p:nvSpPr>
        <p:spPr bwMode="auto">
          <a:xfrm>
            <a:off x="6870737" y="1512243"/>
            <a:ext cx="2799934" cy="72019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4080" dirty="0">
                <a:latin typeface="Segoe UI Light" pitchFamily="34" charset="0"/>
                <a:cs typeface="Segoe UI Light" pitchFamily="34" charset="0"/>
              </a:rPr>
              <a:t>Small circles</a:t>
            </a:r>
          </a:p>
        </p:txBody>
      </p:sp>
      <p:cxnSp>
        <p:nvCxnSpPr>
          <p:cNvPr id="5" name="Straight Arrow Connector 4"/>
          <p:cNvCxnSpPr/>
          <p:nvPr/>
        </p:nvCxnSpPr>
        <p:spPr>
          <a:xfrm flipH="1" flipV="1">
            <a:off x="4098832" y="984414"/>
            <a:ext cx="2771904" cy="888888"/>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7367800" y="2234362"/>
            <a:ext cx="103623" cy="2065975"/>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8000871" y="2155028"/>
            <a:ext cx="1938066" cy="819266"/>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020097" y="5587063"/>
            <a:ext cx="8577816" cy="1323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97596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2141336" y="302772"/>
            <a:ext cx="7927128" cy="1165754"/>
          </a:xfrm>
        </p:spPr>
        <p:txBody>
          <a:bodyPr/>
          <a:lstStyle/>
          <a:p>
            <a:r>
              <a:rPr lang="en-GB" altLang="en-US" dirty="0">
                <a:solidFill>
                  <a:srgbClr val="FF3300"/>
                </a:solidFill>
              </a:rPr>
              <a:t> </a:t>
            </a:r>
            <a:endParaRPr lang="en-GB" altLang="en-US" i="1" dirty="0">
              <a:solidFill>
                <a:srgbClr val="FF3300"/>
              </a:solidFill>
            </a:endParaRPr>
          </a:p>
        </p:txBody>
      </p:sp>
      <p:sp>
        <p:nvSpPr>
          <p:cNvPr id="46083" name="TextBox 262"/>
          <p:cNvSpPr txBox="1">
            <a:spLocks noChangeArrowheads="1"/>
          </p:cNvSpPr>
          <p:nvPr/>
        </p:nvSpPr>
        <p:spPr bwMode="auto">
          <a:xfrm>
            <a:off x="3847872" y="6549272"/>
            <a:ext cx="508786"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4450">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448" b="1" dirty="0"/>
              <a:t>63</a:t>
            </a:r>
          </a:p>
        </p:txBody>
      </p:sp>
      <p:pic>
        <p:nvPicPr>
          <p:cNvPr id="46084" name="Picture 4" descr="https://onlinecourses.science.psu.edu/stat857/sites/onlinecourses.science.psu.edu.stat857/files/image_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9806" y="103622"/>
            <a:ext cx="8688107" cy="6890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6" name="TextBox 2"/>
          <p:cNvSpPr txBox="1">
            <a:spLocks noChangeArrowheads="1"/>
          </p:cNvSpPr>
          <p:nvPr/>
        </p:nvSpPr>
        <p:spPr bwMode="auto">
          <a:xfrm>
            <a:off x="6870737" y="1512243"/>
            <a:ext cx="2799934" cy="72019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4080" dirty="0">
                <a:latin typeface="+mj-lt"/>
                <a:cs typeface="Segoe UI Light" pitchFamily="34" charset="0"/>
              </a:rPr>
              <a:t>Small circles</a:t>
            </a:r>
          </a:p>
        </p:txBody>
      </p:sp>
      <p:cxnSp>
        <p:nvCxnSpPr>
          <p:cNvPr id="5" name="Straight Arrow Connector 4"/>
          <p:cNvCxnSpPr/>
          <p:nvPr/>
        </p:nvCxnSpPr>
        <p:spPr>
          <a:xfrm flipH="1" flipV="1">
            <a:off x="4098832" y="984414"/>
            <a:ext cx="2771904" cy="888888"/>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7367800" y="2234362"/>
            <a:ext cx="103623" cy="2065975"/>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8000871" y="2155028"/>
            <a:ext cx="1938066" cy="819266"/>
          </a:xfrm>
          <a:prstGeom prst="straightConnector1">
            <a:avLst/>
          </a:prstGeom>
          <a:ln w="412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46090" name="TextBox 9"/>
          <p:cNvSpPr txBox="1">
            <a:spLocks noChangeArrowheads="1"/>
          </p:cNvSpPr>
          <p:nvPr/>
        </p:nvSpPr>
        <p:spPr bwMode="auto">
          <a:xfrm>
            <a:off x="1799707" y="4871882"/>
            <a:ext cx="8947770" cy="1975926"/>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4080" dirty="0">
                <a:latin typeface="+mj-lt"/>
                <a:cs typeface="Segoe UI Light" pitchFamily="34" charset="0"/>
              </a:rPr>
              <a:t>But what about position invariance  ???</a:t>
            </a:r>
          </a:p>
          <a:p>
            <a:pPr eaLnBrk="1" hangingPunct="1">
              <a:spcBef>
                <a:spcPct val="0"/>
              </a:spcBef>
              <a:buFontTx/>
              <a:buNone/>
            </a:pPr>
            <a:r>
              <a:rPr lang="en-GB" altLang="en-US" sz="4080" dirty="0">
                <a:latin typeface="+mj-lt"/>
                <a:cs typeface="Segoe UI Light" pitchFamily="34" charset="0"/>
              </a:rPr>
              <a:t>our example unit detectors were tied to </a:t>
            </a:r>
          </a:p>
          <a:p>
            <a:pPr eaLnBrk="1" hangingPunct="1">
              <a:spcBef>
                <a:spcPct val="0"/>
              </a:spcBef>
              <a:buFontTx/>
              <a:buNone/>
            </a:pPr>
            <a:r>
              <a:rPr lang="en-GB" altLang="en-US" sz="4080" dirty="0">
                <a:latin typeface="+mj-lt"/>
                <a:cs typeface="Segoe UI Light" pitchFamily="34" charset="0"/>
              </a:rPr>
              <a:t>specific parts of the image  </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08062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7" name="Picture 5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3812" y="867840"/>
            <a:ext cx="8767442" cy="1131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Oval 1"/>
          <p:cNvSpPr/>
          <p:nvPr/>
        </p:nvSpPr>
        <p:spPr>
          <a:xfrm>
            <a:off x="3825203" y="2724951"/>
            <a:ext cx="1076704" cy="109937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32" dirty="0"/>
              <a:t> </a:t>
            </a:r>
          </a:p>
          <a:p>
            <a:pPr algn="ctr">
              <a:defRPr/>
            </a:pPr>
            <a:r>
              <a:rPr lang="en-GB" sz="1632" dirty="0"/>
              <a:t>  </a:t>
            </a:r>
          </a:p>
        </p:txBody>
      </p:sp>
      <p:pic>
        <p:nvPicPr>
          <p:cNvPr id="47109" name="Picture 6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14638" y="2814001"/>
            <a:ext cx="697833" cy="900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ounded Rectangle 2"/>
          <p:cNvSpPr/>
          <p:nvPr/>
        </p:nvSpPr>
        <p:spPr>
          <a:xfrm>
            <a:off x="3938542" y="2814002"/>
            <a:ext cx="859744" cy="16029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4" name="Oval 63"/>
          <p:cNvSpPr/>
          <p:nvPr/>
        </p:nvSpPr>
        <p:spPr>
          <a:xfrm>
            <a:off x="5389258" y="2736285"/>
            <a:ext cx="1078323" cy="109775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32" dirty="0"/>
              <a:t> </a:t>
            </a:r>
          </a:p>
          <a:p>
            <a:pPr algn="ctr">
              <a:defRPr/>
            </a:pPr>
            <a:r>
              <a:rPr lang="en-GB" sz="1632" dirty="0"/>
              <a:t>  </a:t>
            </a:r>
          </a:p>
        </p:txBody>
      </p:sp>
      <p:pic>
        <p:nvPicPr>
          <p:cNvPr id="47112" name="Picture 6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78692" y="2825335"/>
            <a:ext cx="699453" cy="898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Rounded Rectangle 65"/>
          <p:cNvSpPr/>
          <p:nvPr/>
        </p:nvSpPr>
        <p:spPr>
          <a:xfrm>
            <a:off x="5502593" y="2928959"/>
            <a:ext cx="861363" cy="1586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67" name="Oval 66"/>
          <p:cNvSpPr/>
          <p:nvPr/>
        </p:nvSpPr>
        <p:spPr>
          <a:xfrm>
            <a:off x="7056934" y="2802669"/>
            <a:ext cx="1078323" cy="109775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32" dirty="0"/>
              <a:t> </a:t>
            </a:r>
          </a:p>
          <a:p>
            <a:pPr algn="ctr">
              <a:defRPr/>
            </a:pPr>
            <a:r>
              <a:rPr lang="en-GB" sz="1632" dirty="0"/>
              <a:t>  </a:t>
            </a:r>
          </a:p>
        </p:txBody>
      </p:sp>
      <p:pic>
        <p:nvPicPr>
          <p:cNvPr id="47115" name="Picture 6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6368" y="2891719"/>
            <a:ext cx="699453" cy="898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Rounded Rectangle 68"/>
          <p:cNvSpPr/>
          <p:nvPr/>
        </p:nvSpPr>
        <p:spPr>
          <a:xfrm>
            <a:off x="7167033" y="3139441"/>
            <a:ext cx="859744" cy="16029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47117" name="TextBox 3"/>
          <p:cNvSpPr txBox="1">
            <a:spLocks noChangeArrowheads="1"/>
          </p:cNvSpPr>
          <p:nvPr/>
        </p:nvSpPr>
        <p:spPr bwMode="auto">
          <a:xfrm>
            <a:off x="8747277" y="2974292"/>
            <a:ext cx="1373656" cy="67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1" hangingPunct="1"/>
            <a:r>
              <a:rPr lang="en-GB" altLang="en-US" sz="3672" b="1" dirty="0"/>
              <a:t>etc …</a:t>
            </a:r>
          </a:p>
        </p:txBody>
      </p:sp>
      <p:sp>
        <p:nvSpPr>
          <p:cNvPr id="60" name="Isosceles Triangle 59"/>
          <p:cNvSpPr/>
          <p:nvPr/>
        </p:nvSpPr>
        <p:spPr>
          <a:xfrm rot="10800000">
            <a:off x="2377725" y="1813395"/>
            <a:ext cx="7721503" cy="1005463"/>
          </a:xfrm>
          <a:prstGeom prst="triangle">
            <a:avLst>
              <a:gd name="adj" fmla="val 75231"/>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2" name="Isosceles Triangle 71"/>
          <p:cNvSpPr/>
          <p:nvPr/>
        </p:nvSpPr>
        <p:spPr>
          <a:xfrm rot="10800000">
            <a:off x="2325913" y="1792349"/>
            <a:ext cx="7721503" cy="1005462"/>
          </a:xfrm>
          <a:prstGeom prst="triangle">
            <a:avLst>
              <a:gd name="adj" fmla="val 52952"/>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3" name="Isosceles Triangle 72"/>
          <p:cNvSpPr/>
          <p:nvPr/>
        </p:nvSpPr>
        <p:spPr>
          <a:xfrm rot="10800000">
            <a:off x="2304867" y="1813395"/>
            <a:ext cx="7721502" cy="1005463"/>
          </a:xfrm>
          <a:prstGeom prst="triangle">
            <a:avLst>
              <a:gd name="adj" fmla="val 31076"/>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4" name="Isosceles Triangle 73"/>
          <p:cNvSpPr/>
          <p:nvPr/>
        </p:nvSpPr>
        <p:spPr>
          <a:xfrm rot="10800000">
            <a:off x="2316199" y="1803680"/>
            <a:ext cx="7719883" cy="1003844"/>
          </a:xfrm>
          <a:prstGeom prst="triangle">
            <a:avLst>
              <a:gd name="adj" fmla="val 7858"/>
            </a:avLst>
          </a:prstGeom>
          <a:solidFill>
            <a:srgbClr val="FFC00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47122" name="TextBox 60"/>
          <p:cNvSpPr txBox="1">
            <a:spLocks noChangeArrowheads="1"/>
          </p:cNvSpPr>
          <p:nvPr/>
        </p:nvSpPr>
        <p:spPr bwMode="auto">
          <a:xfrm>
            <a:off x="1375955" y="3087630"/>
            <a:ext cx="2229712" cy="6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1" hangingPunct="1"/>
            <a:r>
              <a:rPr lang="en-GB" altLang="en-US" sz="1632" dirty="0"/>
              <a:t>Detect lines in specific positions</a:t>
            </a:r>
          </a:p>
        </p:txBody>
      </p:sp>
      <p:sp>
        <p:nvSpPr>
          <p:cNvPr id="76" name="Oval 75"/>
          <p:cNvSpPr/>
          <p:nvPr/>
        </p:nvSpPr>
        <p:spPr>
          <a:xfrm>
            <a:off x="4218647" y="4517299"/>
            <a:ext cx="1076703" cy="1099371"/>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32" dirty="0"/>
              <a:t> </a:t>
            </a:r>
          </a:p>
          <a:p>
            <a:pPr algn="ctr">
              <a:defRPr/>
            </a:pPr>
            <a:r>
              <a:rPr lang="en-GB" sz="1632" dirty="0"/>
              <a:t>  </a:t>
            </a:r>
          </a:p>
        </p:txBody>
      </p:sp>
      <p:pic>
        <p:nvPicPr>
          <p:cNvPr id="47124" name="Picture 6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7794" y="4606348"/>
            <a:ext cx="699453" cy="900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8" name="Rounded Rectangle 77"/>
          <p:cNvSpPr/>
          <p:nvPr/>
        </p:nvSpPr>
        <p:spPr>
          <a:xfrm>
            <a:off x="4343317" y="4606348"/>
            <a:ext cx="859744" cy="16029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0" name="Rounded Rectangle 79"/>
          <p:cNvSpPr/>
          <p:nvPr/>
        </p:nvSpPr>
        <p:spPr>
          <a:xfrm>
            <a:off x="4353032" y="4752067"/>
            <a:ext cx="859744" cy="16029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1" name="Rounded Rectangle 80"/>
          <p:cNvSpPr/>
          <p:nvPr/>
        </p:nvSpPr>
        <p:spPr>
          <a:xfrm>
            <a:off x="4353032" y="4886454"/>
            <a:ext cx="859744" cy="16029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2" name="Rounded Rectangle 81"/>
          <p:cNvSpPr/>
          <p:nvPr/>
        </p:nvSpPr>
        <p:spPr>
          <a:xfrm>
            <a:off x="4353032" y="5011124"/>
            <a:ext cx="859744" cy="16029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836" dirty="0"/>
              <a:t>v</a:t>
            </a:r>
          </a:p>
        </p:txBody>
      </p:sp>
      <p:sp>
        <p:nvSpPr>
          <p:cNvPr id="83" name="Rounded Rectangle 82"/>
          <p:cNvSpPr/>
          <p:nvPr/>
        </p:nvSpPr>
        <p:spPr>
          <a:xfrm>
            <a:off x="4374079" y="5114746"/>
            <a:ext cx="859743" cy="16029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4" name="Rounded Rectangle 83"/>
          <p:cNvSpPr/>
          <p:nvPr/>
        </p:nvSpPr>
        <p:spPr>
          <a:xfrm>
            <a:off x="4343317" y="4761782"/>
            <a:ext cx="859744" cy="16029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87" name="Rounded Rectangle 86"/>
          <p:cNvSpPr/>
          <p:nvPr/>
        </p:nvSpPr>
        <p:spPr>
          <a:xfrm>
            <a:off x="4331983" y="5312279"/>
            <a:ext cx="859743" cy="1586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cxnSp>
        <p:nvCxnSpPr>
          <p:cNvPr id="63" name="Straight Arrow Connector 62"/>
          <p:cNvCxnSpPr>
            <a:stCxn id="2" idx="4"/>
            <a:endCxn id="76" idx="0"/>
          </p:cNvCxnSpPr>
          <p:nvPr/>
        </p:nvCxnSpPr>
        <p:spPr>
          <a:xfrm>
            <a:off x="4362745" y="3824321"/>
            <a:ext cx="395061" cy="692976"/>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64" idx="4"/>
          </p:cNvCxnSpPr>
          <p:nvPr/>
        </p:nvCxnSpPr>
        <p:spPr>
          <a:xfrm flipH="1">
            <a:off x="4913242" y="3834037"/>
            <a:ext cx="1015178" cy="683261"/>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H="1">
            <a:off x="5117249" y="3900421"/>
            <a:ext cx="2302364" cy="616878"/>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endCxn id="78" idx="3"/>
          </p:cNvCxnSpPr>
          <p:nvPr/>
        </p:nvCxnSpPr>
        <p:spPr>
          <a:xfrm flipH="1">
            <a:off x="5203060" y="3685080"/>
            <a:ext cx="4663017" cy="1002225"/>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01" name="Oval 100"/>
          <p:cNvSpPr/>
          <p:nvPr/>
        </p:nvSpPr>
        <p:spPr>
          <a:xfrm>
            <a:off x="6205284" y="4501107"/>
            <a:ext cx="1076704" cy="109775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32" dirty="0"/>
              <a:t> </a:t>
            </a:r>
          </a:p>
          <a:p>
            <a:pPr algn="ctr">
              <a:defRPr/>
            </a:pPr>
            <a:r>
              <a:rPr lang="en-GB" sz="1632" dirty="0"/>
              <a:t>  </a:t>
            </a:r>
          </a:p>
        </p:txBody>
      </p:sp>
      <p:pic>
        <p:nvPicPr>
          <p:cNvPr id="47137" name="Picture 6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04434" y="4590157"/>
            <a:ext cx="699453" cy="898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 name="Rounded Rectangle 111"/>
          <p:cNvSpPr/>
          <p:nvPr/>
        </p:nvSpPr>
        <p:spPr>
          <a:xfrm>
            <a:off x="6674824" y="4645208"/>
            <a:ext cx="123052" cy="81926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3" name="Rounded Rectangle 112"/>
          <p:cNvSpPr/>
          <p:nvPr/>
        </p:nvSpPr>
        <p:spPr>
          <a:xfrm>
            <a:off x="6841592" y="4675970"/>
            <a:ext cx="121432" cy="8208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19" name="Oval 118"/>
          <p:cNvSpPr/>
          <p:nvPr/>
        </p:nvSpPr>
        <p:spPr>
          <a:xfrm>
            <a:off x="7992774" y="4483298"/>
            <a:ext cx="1076704" cy="109775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32" dirty="0"/>
              <a:t> </a:t>
            </a:r>
          </a:p>
          <a:p>
            <a:pPr algn="ctr">
              <a:defRPr/>
            </a:pPr>
            <a:r>
              <a:rPr lang="en-GB" sz="1632" dirty="0"/>
              <a:t>  </a:t>
            </a:r>
          </a:p>
        </p:txBody>
      </p:sp>
      <p:pic>
        <p:nvPicPr>
          <p:cNvPr id="47141" name="Picture 6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82209" y="4572348"/>
            <a:ext cx="697833" cy="898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114" name="Oval 47113"/>
          <p:cNvSpPr/>
          <p:nvPr/>
        </p:nvSpPr>
        <p:spPr>
          <a:xfrm>
            <a:off x="8182210" y="4590157"/>
            <a:ext cx="438776" cy="43877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3" name="Oval 122"/>
          <p:cNvSpPr/>
          <p:nvPr/>
        </p:nvSpPr>
        <p:spPr>
          <a:xfrm>
            <a:off x="8465552" y="4546441"/>
            <a:ext cx="440396" cy="4403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26" name="Oval 125"/>
          <p:cNvSpPr/>
          <p:nvPr/>
        </p:nvSpPr>
        <p:spPr>
          <a:xfrm>
            <a:off x="8400788" y="4667874"/>
            <a:ext cx="440396" cy="43877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47145" name="TextBox 126"/>
          <p:cNvSpPr txBox="1">
            <a:spLocks noChangeArrowheads="1"/>
          </p:cNvSpPr>
          <p:nvPr/>
        </p:nvSpPr>
        <p:spPr bwMode="auto">
          <a:xfrm>
            <a:off x="1681511" y="4497869"/>
            <a:ext cx="2028119" cy="1096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1" hangingPunct="1"/>
            <a:r>
              <a:rPr lang="en-GB" altLang="en-US" sz="1632" dirty="0"/>
              <a:t>Higher level detectors</a:t>
            </a:r>
          </a:p>
          <a:p>
            <a:pPr eaLnBrk="1" hangingPunct="1"/>
            <a:r>
              <a:rPr lang="en-GB" altLang="en-US" sz="1632" dirty="0"/>
              <a:t>( horizontal line, </a:t>
            </a:r>
          </a:p>
          <a:p>
            <a:pPr eaLnBrk="1" hangingPunct="1"/>
            <a:r>
              <a:rPr lang="en-GB" altLang="en-US" sz="1632" dirty="0"/>
              <a:t>“RHS vertical lune”</a:t>
            </a:r>
          </a:p>
          <a:p>
            <a:pPr eaLnBrk="1" hangingPunct="1"/>
            <a:r>
              <a:rPr lang="en-GB" altLang="en-US" sz="1632" dirty="0"/>
              <a:t>“upper loop”, etc…)</a:t>
            </a:r>
          </a:p>
        </p:txBody>
      </p:sp>
      <p:sp>
        <p:nvSpPr>
          <p:cNvPr id="47146" name="TextBox 127"/>
          <p:cNvSpPr txBox="1">
            <a:spLocks noChangeArrowheads="1"/>
          </p:cNvSpPr>
          <p:nvPr/>
        </p:nvSpPr>
        <p:spPr bwMode="auto">
          <a:xfrm>
            <a:off x="9422442" y="4756925"/>
            <a:ext cx="1373656" cy="67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1" hangingPunct="1"/>
            <a:r>
              <a:rPr lang="en-GB" altLang="en-US" sz="3672" b="1" dirty="0"/>
              <a:t>etc …</a:t>
            </a:r>
          </a:p>
        </p:txBody>
      </p:sp>
      <p:sp>
        <p:nvSpPr>
          <p:cNvPr id="44" name="Title 2"/>
          <p:cNvSpPr txBox="1">
            <a:spLocks/>
          </p:cNvSpPr>
          <p:nvPr/>
        </p:nvSpPr>
        <p:spPr>
          <a:xfrm>
            <a:off x="574561" y="332677"/>
            <a:ext cx="12016023"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b="1" dirty="0"/>
              <a:t>Successive Layers Can Learn Higher-Level Features</a:t>
            </a:r>
          </a:p>
        </p:txBody>
      </p:sp>
      <p:pic>
        <p:nvPicPr>
          <p:cNvPr id="4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27999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Multiple Layers Make Sense</a:t>
            </a:r>
          </a:p>
        </p:txBody>
      </p:sp>
      <p:pic>
        <p:nvPicPr>
          <p:cNvPr id="2" name="Picture 1"/>
          <p:cNvPicPr>
            <a:picLocks noChangeAspect="1"/>
          </p:cNvPicPr>
          <p:nvPr/>
        </p:nvPicPr>
        <p:blipFill rotWithShape="1">
          <a:blip r:embed="rId3"/>
          <a:srcRect l="1954" t="13073" r="45450" b="11726"/>
          <a:stretch/>
        </p:blipFill>
        <p:spPr>
          <a:xfrm>
            <a:off x="673035" y="2230651"/>
            <a:ext cx="5451791" cy="4384664"/>
          </a:xfrm>
          <a:prstGeom prst="rect">
            <a:avLst/>
          </a:prstGeom>
        </p:spPr>
      </p:pic>
      <p:pic>
        <p:nvPicPr>
          <p:cNvPr id="3" name="Picture 2"/>
          <p:cNvPicPr>
            <a:picLocks noChangeAspect="1"/>
          </p:cNvPicPr>
          <p:nvPr/>
        </p:nvPicPr>
        <p:blipFill rotWithShape="1">
          <a:blip r:embed="rId4"/>
          <a:srcRect l="3915" t="13944" r="37817" b="12846"/>
          <a:stretch/>
        </p:blipFill>
        <p:spPr>
          <a:xfrm>
            <a:off x="5773783" y="2230651"/>
            <a:ext cx="6365965" cy="4499024"/>
          </a:xfrm>
          <a:prstGeom prst="rect">
            <a:avLst/>
          </a:prstGeom>
        </p:spPr>
      </p:pic>
      <p:sp>
        <p:nvSpPr>
          <p:cNvPr id="7" name="TextBox 6"/>
          <p:cNvSpPr txBox="1"/>
          <p:nvPr/>
        </p:nvSpPr>
        <p:spPr>
          <a:xfrm>
            <a:off x="622285" y="1362474"/>
            <a:ext cx="9358518" cy="954107"/>
          </a:xfrm>
          <a:prstGeom prst="rect">
            <a:avLst/>
          </a:prstGeom>
          <a:noFill/>
        </p:spPr>
        <p:txBody>
          <a:bodyPr wrap="square" rtlCol="0">
            <a:spAutoFit/>
          </a:bodyPr>
          <a:lstStyle/>
          <a:p>
            <a:pPr marL="457200" indent="-457200">
              <a:buFont typeface="Arial" panose="020B0604020202020204" pitchFamily="34" charset="0"/>
              <a:buChar char="•"/>
            </a:pPr>
            <a:r>
              <a:rPr lang="en-US" sz="2800" dirty="0">
                <a:latin typeface="+mj-lt"/>
              </a:rPr>
              <a:t>Deep Learning = Brain “inspired”</a:t>
            </a:r>
          </a:p>
          <a:p>
            <a:pPr marL="457200" indent="-457200">
              <a:buFont typeface="Arial" panose="020B0604020202020204" pitchFamily="34" charset="0"/>
              <a:buChar char="•"/>
            </a:pPr>
            <a:r>
              <a:rPr lang="en-US" sz="2800" dirty="0">
                <a:latin typeface="+mj-lt"/>
              </a:rPr>
              <a:t>Audio / Visual Cortex has multiple stages = Hierarchical</a:t>
            </a:r>
            <a:endParaRPr lang="en-US" sz="2800" dirty="0"/>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78880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1"/>
          <p:cNvSpPr txBox="1">
            <a:spLocks/>
          </p:cNvSpPr>
          <p:nvPr/>
        </p:nvSpPr>
        <p:spPr bwMode="auto">
          <a:xfrm>
            <a:off x="1849897" y="1264521"/>
            <a:ext cx="8652639" cy="1180326"/>
          </a:xfrm>
          <a:prstGeom prst="rect">
            <a:avLst/>
          </a:prstGeom>
          <a:solidFill>
            <a:schemeClr val="bg1"/>
          </a:solidFill>
          <a:ln w="9525">
            <a:solidFill>
              <a:srgbClr val="000000"/>
            </a:solidFill>
            <a:miter lim="800000"/>
            <a:headEnd/>
            <a:tailEnd/>
          </a:ln>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lgn="l">
              <a:defRPr/>
            </a:pPr>
            <a:r>
              <a:rPr lang="en-GB" altLang="en-US" sz="2100" kern="0" dirty="0"/>
              <a:t>Many-layer neural network architectures should be capable of learning the true underlying features and ‘feature logic’, and  therefore generalise very well …</a:t>
            </a:r>
          </a:p>
        </p:txBody>
      </p:sp>
      <p:pic>
        <p:nvPicPr>
          <p:cNvPr id="5120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9934" y="2987247"/>
            <a:ext cx="6941095" cy="1944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Multiple Layers Make Sense</a:t>
            </a:r>
          </a:p>
        </p:txBody>
      </p:sp>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46992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605" y="1826349"/>
            <a:ext cx="6939475" cy="194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New Way To Train Multi-Layer NNs…</a:t>
            </a:r>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335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605" y="1826349"/>
            <a:ext cx="6939475" cy="194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2274104" y="4114142"/>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rain this layer first</a:t>
            </a:r>
          </a:p>
        </p:txBody>
      </p:sp>
      <p:sp>
        <p:nvSpPr>
          <p:cNvPr id="6" name="Rounded Rectangle 5"/>
          <p:cNvSpPr/>
          <p:nvPr/>
        </p:nvSpPr>
        <p:spPr>
          <a:xfrm>
            <a:off x="3316804" y="1606150"/>
            <a:ext cx="1347094" cy="2352557"/>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New Way To Train Multi-Layer NNs…</a:t>
            </a: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7876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605" y="1826349"/>
            <a:ext cx="6939475" cy="194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2274104" y="4114142"/>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rain this layer first</a:t>
            </a:r>
          </a:p>
        </p:txBody>
      </p:sp>
      <p:sp>
        <p:nvSpPr>
          <p:cNvPr id="6" name="Rounded Rectangle 5"/>
          <p:cNvSpPr/>
          <p:nvPr/>
        </p:nvSpPr>
        <p:spPr>
          <a:xfrm>
            <a:off x="4529513" y="1606150"/>
            <a:ext cx="1347094" cy="2352557"/>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Title 1"/>
          <p:cNvSpPr txBox="1">
            <a:spLocks/>
          </p:cNvSpPr>
          <p:nvPr/>
        </p:nvSpPr>
        <p:spPr bwMode="auto">
          <a:xfrm>
            <a:off x="3342712" y="4724544"/>
            <a:ext cx="3383925" cy="736692"/>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8"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New Way To Train Multi-Layer NNs…</a:t>
            </a: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40087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1366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Motivation: Why Go Deep</a:t>
            </a:r>
          </a:p>
        </p:txBody>
      </p:sp>
      <p:sp>
        <p:nvSpPr>
          <p:cNvPr id="8" name="Text Placeholder 22"/>
          <p:cNvSpPr txBox="1">
            <a:spLocks/>
          </p:cNvSpPr>
          <p:nvPr/>
        </p:nvSpPr>
        <p:spPr>
          <a:xfrm>
            <a:off x="384738" y="1276660"/>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sz="2500" dirty="0">
                <a:solidFill>
                  <a:schemeClr val="tx1">
                    <a:lumMod val="75000"/>
                    <a:lumOff val="25000"/>
                  </a:schemeClr>
                </a:solidFill>
                <a:latin typeface="+mj-lt"/>
              </a:rPr>
              <a:t>Deep Architectures can be representationally efficient</a:t>
            </a:r>
          </a:p>
          <a:p>
            <a:pPr marL="342900" lvl="1" indent="0" algn="just">
              <a:buNone/>
            </a:pPr>
            <a:r>
              <a:rPr lang="en-US" sz="2500" dirty="0">
                <a:solidFill>
                  <a:schemeClr val="tx1">
                    <a:lumMod val="75000"/>
                    <a:lumOff val="25000"/>
                  </a:schemeClr>
                </a:solidFill>
                <a:latin typeface="+mj-lt"/>
              </a:rPr>
              <a:t>         Fewer computational units for same function</a:t>
            </a:r>
          </a:p>
          <a:p>
            <a:pPr marL="342900" lvl="1" indent="0" algn="just">
              <a:buNone/>
            </a:pPr>
            <a:endParaRPr lang="en-US" sz="2500" dirty="0">
              <a:solidFill>
                <a:schemeClr val="tx1">
                  <a:lumMod val="75000"/>
                  <a:lumOff val="25000"/>
                </a:schemeClr>
              </a:solidFill>
              <a:latin typeface="+mj-lt"/>
            </a:endParaRPr>
          </a:p>
          <a:p>
            <a:pPr lvl="1" algn="just"/>
            <a:r>
              <a:rPr lang="en-US" sz="2500" dirty="0">
                <a:solidFill>
                  <a:schemeClr val="tx1">
                    <a:lumMod val="75000"/>
                    <a:lumOff val="25000"/>
                  </a:schemeClr>
                </a:solidFill>
                <a:latin typeface="+mj-lt"/>
              </a:rPr>
              <a:t>Deep Representations might allow for a hierarchy or representation</a:t>
            </a:r>
          </a:p>
          <a:p>
            <a:pPr marL="342900" lvl="1" indent="0" algn="just">
              <a:buNone/>
            </a:pPr>
            <a:r>
              <a:rPr lang="en-US" sz="2500" dirty="0">
                <a:solidFill>
                  <a:schemeClr val="tx1">
                    <a:lumMod val="75000"/>
                    <a:lumOff val="25000"/>
                  </a:schemeClr>
                </a:solidFill>
                <a:latin typeface="+mj-lt"/>
              </a:rPr>
              <a:t>        Allows non-local generalization</a:t>
            </a:r>
          </a:p>
          <a:p>
            <a:pPr marL="342900" lvl="1" indent="0" algn="just">
              <a:buNone/>
            </a:pPr>
            <a:r>
              <a:rPr lang="en-US" sz="2500" dirty="0">
                <a:solidFill>
                  <a:schemeClr val="tx1">
                    <a:lumMod val="75000"/>
                    <a:lumOff val="25000"/>
                  </a:schemeClr>
                </a:solidFill>
                <a:latin typeface="+mj-lt"/>
              </a:rPr>
              <a:t>        Comprehensibility</a:t>
            </a:r>
          </a:p>
          <a:p>
            <a:pPr marL="342900" lvl="1" indent="0" algn="just">
              <a:buNone/>
            </a:pPr>
            <a:endParaRPr lang="en-US" sz="2500" dirty="0">
              <a:solidFill>
                <a:schemeClr val="tx1">
                  <a:lumMod val="75000"/>
                  <a:lumOff val="25000"/>
                </a:schemeClr>
              </a:solidFill>
              <a:latin typeface="+mj-lt"/>
            </a:endParaRPr>
          </a:p>
          <a:p>
            <a:pPr lvl="1" algn="just"/>
            <a:r>
              <a:rPr lang="en-US" sz="2500" dirty="0">
                <a:solidFill>
                  <a:schemeClr val="tx1">
                    <a:lumMod val="75000"/>
                    <a:lumOff val="25000"/>
                  </a:schemeClr>
                </a:solidFill>
                <a:latin typeface="+mj-lt"/>
              </a:rPr>
              <a:t>Multiple levels of latent variables allow combinatorial sharing of statistical strength</a:t>
            </a:r>
          </a:p>
          <a:p>
            <a:pPr lvl="1" algn="just"/>
            <a:endParaRPr lang="en-US" sz="2500" dirty="0">
              <a:solidFill>
                <a:schemeClr val="tx1">
                  <a:lumMod val="75000"/>
                  <a:lumOff val="25000"/>
                </a:schemeClr>
              </a:solidFill>
              <a:latin typeface="+mj-lt"/>
            </a:endParaRPr>
          </a:p>
          <a:p>
            <a:pPr lvl="1" algn="just"/>
            <a:r>
              <a:rPr lang="en-US" sz="2500" dirty="0">
                <a:solidFill>
                  <a:schemeClr val="tx1">
                    <a:lumMod val="75000"/>
                    <a:lumOff val="25000"/>
                  </a:schemeClr>
                </a:solidFill>
                <a:latin typeface="+mj-lt"/>
              </a:rPr>
              <a:t>Deep architectures work well (vision, audio, NLP, etc.)</a:t>
            </a:r>
            <a:endParaRPr lang="en-US" sz="2500" dirty="0">
              <a:solidFill>
                <a:schemeClr val="tx1">
                  <a:lumMod val="75000"/>
                  <a:lumOff val="25000"/>
                </a:schemeClr>
              </a:solidFill>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9560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 calcmode="lin" valueType="num">
                                      <p:cBhvr additive="base">
                                        <p:cTn id="19"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anim calcmode="lin" valueType="num">
                                      <p:cBhvr additive="base">
                                        <p:cTn id="25"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5" end="5"/>
                                            </p:txEl>
                                          </p:spTgt>
                                        </p:tgtEl>
                                        <p:attrNameLst>
                                          <p:attrName>style.visibility</p:attrName>
                                        </p:attrNameLst>
                                      </p:cBhvr>
                                      <p:to>
                                        <p:strVal val="visible"/>
                                      </p:to>
                                    </p:set>
                                    <p:anim calcmode="lin" valueType="num">
                                      <p:cBhvr additive="base">
                                        <p:cTn id="31"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8">
                                            <p:txEl>
                                              <p:pRg st="7" end="7"/>
                                            </p:txEl>
                                          </p:spTgt>
                                        </p:tgtEl>
                                        <p:attrNameLst>
                                          <p:attrName>style.visibility</p:attrName>
                                        </p:attrNameLst>
                                      </p:cBhvr>
                                      <p:to>
                                        <p:strVal val="visible"/>
                                      </p:to>
                                    </p:set>
                                    <p:anim calcmode="lin" valueType="num">
                                      <p:cBhvr additive="base">
                                        <p:cTn id="37" dur="500" fill="hold"/>
                                        <p:tgtEl>
                                          <p:spTgt spid="8">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8">
                                            <p:txEl>
                                              <p:pRg st="9" end="9"/>
                                            </p:txEl>
                                          </p:spTgt>
                                        </p:tgtEl>
                                        <p:attrNameLst>
                                          <p:attrName>style.visibility</p:attrName>
                                        </p:attrNameLst>
                                      </p:cBhvr>
                                      <p:to>
                                        <p:strVal val="visible"/>
                                      </p:to>
                                    </p:set>
                                    <p:anim calcmode="lin" valueType="num">
                                      <p:cBhvr additive="base">
                                        <p:cTn id="43" dur="500" fill="hold"/>
                                        <p:tgtEl>
                                          <p:spTgt spid="8">
                                            <p:txEl>
                                              <p:pRg st="9" end="9"/>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8">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605" y="1826349"/>
            <a:ext cx="6939475" cy="194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2274104" y="4114142"/>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rain this layer first</a:t>
            </a:r>
          </a:p>
        </p:txBody>
      </p:sp>
      <p:sp>
        <p:nvSpPr>
          <p:cNvPr id="7" name="Title 1"/>
          <p:cNvSpPr txBox="1">
            <a:spLocks/>
          </p:cNvSpPr>
          <p:nvPr/>
        </p:nvSpPr>
        <p:spPr bwMode="auto">
          <a:xfrm>
            <a:off x="3342712" y="4724544"/>
            <a:ext cx="3383925" cy="736692"/>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8" name="Title 1"/>
          <p:cNvSpPr txBox="1">
            <a:spLocks/>
          </p:cNvSpPr>
          <p:nvPr/>
        </p:nvSpPr>
        <p:spPr bwMode="auto">
          <a:xfrm>
            <a:off x="4803143" y="5378661"/>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9" name="Rounded Rectangle 8"/>
          <p:cNvSpPr/>
          <p:nvPr/>
        </p:nvSpPr>
        <p:spPr>
          <a:xfrm>
            <a:off x="5907369" y="1761584"/>
            <a:ext cx="1347094" cy="2352557"/>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New Way To Train Multi-Layer NNs…</a:t>
            </a: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15171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605" y="1826349"/>
            <a:ext cx="6939475" cy="194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2274104" y="4114142"/>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rain this layer first</a:t>
            </a:r>
          </a:p>
        </p:txBody>
      </p:sp>
      <p:sp>
        <p:nvSpPr>
          <p:cNvPr id="7" name="Title 1"/>
          <p:cNvSpPr txBox="1">
            <a:spLocks/>
          </p:cNvSpPr>
          <p:nvPr/>
        </p:nvSpPr>
        <p:spPr bwMode="auto">
          <a:xfrm>
            <a:off x="3342712" y="4724544"/>
            <a:ext cx="3383925" cy="736692"/>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8" name="Title 1"/>
          <p:cNvSpPr txBox="1">
            <a:spLocks/>
          </p:cNvSpPr>
          <p:nvPr/>
        </p:nvSpPr>
        <p:spPr bwMode="auto">
          <a:xfrm>
            <a:off x="4803143" y="5378661"/>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9" name="Rounded Rectangle 8"/>
          <p:cNvSpPr/>
          <p:nvPr/>
        </p:nvSpPr>
        <p:spPr>
          <a:xfrm>
            <a:off x="7254463" y="1751869"/>
            <a:ext cx="1347094" cy="2350938"/>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Title 1"/>
          <p:cNvSpPr txBox="1">
            <a:spLocks/>
          </p:cNvSpPr>
          <p:nvPr/>
        </p:nvSpPr>
        <p:spPr bwMode="auto">
          <a:xfrm>
            <a:off x="5445927" y="5885440"/>
            <a:ext cx="3383925" cy="73669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11"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New Way To Train Multi-Layer NNs…</a:t>
            </a:r>
          </a:p>
        </p:txBody>
      </p:sp>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39098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605" y="1826349"/>
            <a:ext cx="6939475" cy="194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2274104" y="4114142"/>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rain this layer first</a:t>
            </a:r>
          </a:p>
        </p:txBody>
      </p:sp>
      <p:sp>
        <p:nvSpPr>
          <p:cNvPr id="7" name="Title 1"/>
          <p:cNvSpPr txBox="1">
            <a:spLocks/>
          </p:cNvSpPr>
          <p:nvPr/>
        </p:nvSpPr>
        <p:spPr bwMode="auto">
          <a:xfrm>
            <a:off x="3342712" y="4724544"/>
            <a:ext cx="3383925" cy="736692"/>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8" name="Title 1"/>
          <p:cNvSpPr txBox="1">
            <a:spLocks/>
          </p:cNvSpPr>
          <p:nvPr/>
        </p:nvSpPr>
        <p:spPr bwMode="auto">
          <a:xfrm>
            <a:off x="4803143" y="5378661"/>
            <a:ext cx="3383925" cy="735073"/>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9" name="Rounded Rectangle 8"/>
          <p:cNvSpPr/>
          <p:nvPr/>
        </p:nvSpPr>
        <p:spPr>
          <a:xfrm>
            <a:off x="8497934" y="1740537"/>
            <a:ext cx="1347094" cy="2352556"/>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10" name="Title 1"/>
          <p:cNvSpPr txBox="1">
            <a:spLocks/>
          </p:cNvSpPr>
          <p:nvPr/>
        </p:nvSpPr>
        <p:spPr bwMode="auto">
          <a:xfrm>
            <a:off x="5445927" y="5885440"/>
            <a:ext cx="3383925" cy="73669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then this layer</a:t>
            </a:r>
          </a:p>
        </p:txBody>
      </p:sp>
      <p:sp>
        <p:nvSpPr>
          <p:cNvPr id="11" name="Title 1"/>
          <p:cNvSpPr txBox="1">
            <a:spLocks/>
          </p:cNvSpPr>
          <p:nvPr/>
        </p:nvSpPr>
        <p:spPr bwMode="auto">
          <a:xfrm>
            <a:off x="7137889" y="6382503"/>
            <a:ext cx="3383925" cy="466302"/>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defRPr/>
            </a:pPr>
            <a:r>
              <a:rPr lang="en-GB" altLang="en-US" sz="2856" kern="0" dirty="0"/>
              <a:t>finally this layer</a:t>
            </a:r>
          </a:p>
        </p:txBody>
      </p:sp>
      <p:sp>
        <p:nvSpPr>
          <p:cNvPr id="12"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New Way To Train Multi-Layer NNs…</a:t>
            </a:r>
          </a:p>
        </p:txBody>
      </p:sp>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97510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605" y="1826349"/>
            <a:ext cx="6939475" cy="194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ounded Rectangle 5"/>
          <p:cNvSpPr/>
          <p:nvPr/>
        </p:nvSpPr>
        <p:spPr>
          <a:xfrm>
            <a:off x="3316804" y="1606150"/>
            <a:ext cx="1347094" cy="2352557"/>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36" dirty="0"/>
          </a:p>
        </p:txBody>
      </p:sp>
      <p:sp>
        <p:nvSpPr>
          <p:cNvPr id="7" name="Title 1"/>
          <p:cNvSpPr txBox="1">
            <a:spLocks/>
          </p:cNvSpPr>
          <p:nvPr/>
        </p:nvSpPr>
        <p:spPr bwMode="auto">
          <a:xfrm>
            <a:off x="2377440" y="4401539"/>
            <a:ext cx="7654834" cy="124347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6" charset="0"/>
                <a:cs typeface="Arial" charset="0"/>
              </a:defRPr>
            </a:lvl2pPr>
            <a:lvl3pPr algn="ctr" rtl="0" eaLnBrk="0" fontAlgn="base" hangingPunct="0">
              <a:spcBef>
                <a:spcPct val="0"/>
              </a:spcBef>
              <a:spcAft>
                <a:spcPct val="0"/>
              </a:spcAft>
              <a:defRPr sz="4400">
                <a:solidFill>
                  <a:schemeClr val="tx2"/>
                </a:solidFill>
                <a:latin typeface="Times New Roman" pitchFamily="16" charset="0"/>
                <a:cs typeface="Arial" charset="0"/>
              </a:defRPr>
            </a:lvl3pPr>
            <a:lvl4pPr algn="ctr" rtl="0" eaLnBrk="0" fontAlgn="base" hangingPunct="0">
              <a:spcBef>
                <a:spcPct val="0"/>
              </a:spcBef>
              <a:spcAft>
                <a:spcPct val="0"/>
              </a:spcAft>
              <a:defRPr sz="4400">
                <a:solidFill>
                  <a:schemeClr val="tx2"/>
                </a:solidFill>
                <a:latin typeface="Times New Roman" pitchFamily="16" charset="0"/>
                <a:cs typeface="Arial" charset="0"/>
              </a:defRPr>
            </a:lvl4pPr>
            <a:lvl5pPr algn="ctr" rtl="0" eaLnBrk="0" fontAlgn="base" hangingPunct="0">
              <a:spcBef>
                <a:spcPct val="0"/>
              </a:spcBef>
              <a:spcAft>
                <a:spcPct val="0"/>
              </a:spcAft>
              <a:defRPr sz="4400">
                <a:solidFill>
                  <a:schemeClr val="tx2"/>
                </a:solidFill>
                <a:latin typeface="Times New Roman" pitchFamily="16" charset="0"/>
                <a:cs typeface="Arial" charset="0"/>
              </a:defRPr>
            </a:lvl5pPr>
            <a:lvl6pPr marL="457200" algn="ctr" rtl="0" fontAlgn="base">
              <a:spcBef>
                <a:spcPct val="0"/>
              </a:spcBef>
              <a:spcAft>
                <a:spcPct val="0"/>
              </a:spcAft>
              <a:defRPr sz="4400">
                <a:solidFill>
                  <a:schemeClr val="tx2"/>
                </a:solidFill>
                <a:latin typeface="Times New Roman" pitchFamily="16" charset="0"/>
                <a:cs typeface="Arial" charset="0"/>
              </a:defRPr>
            </a:lvl6pPr>
            <a:lvl7pPr marL="914400" algn="ctr" rtl="0" fontAlgn="base">
              <a:spcBef>
                <a:spcPct val="0"/>
              </a:spcBef>
              <a:spcAft>
                <a:spcPct val="0"/>
              </a:spcAft>
              <a:defRPr sz="4400">
                <a:solidFill>
                  <a:schemeClr val="tx2"/>
                </a:solidFill>
                <a:latin typeface="Times New Roman" pitchFamily="16" charset="0"/>
                <a:cs typeface="Arial" charset="0"/>
              </a:defRPr>
            </a:lvl7pPr>
            <a:lvl8pPr marL="1371600" algn="ctr" rtl="0" fontAlgn="base">
              <a:spcBef>
                <a:spcPct val="0"/>
              </a:spcBef>
              <a:spcAft>
                <a:spcPct val="0"/>
              </a:spcAft>
              <a:defRPr sz="4400">
                <a:solidFill>
                  <a:schemeClr val="tx2"/>
                </a:solidFill>
                <a:latin typeface="Times New Roman" pitchFamily="16" charset="0"/>
                <a:cs typeface="Arial" charset="0"/>
              </a:defRPr>
            </a:lvl8pPr>
            <a:lvl9pPr marL="1828800" algn="ctr" rtl="0" fontAlgn="base">
              <a:spcBef>
                <a:spcPct val="0"/>
              </a:spcBef>
              <a:spcAft>
                <a:spcPct val="0"/>
              </a:spcAft>
              <a:defRPr sz="4400">
                <a:solidFill>
                  <a:schemeClr val="tx2"/>
                </a:solidFill>
                <a:latin typeface="Times New Roman" pitchFamily="16" charset="0"/>
                <a:cs typeface="Arial" charset="0"/>
              </a:defRPr>
            </a:lvl9pPr>
          </a:lstStyle>
          <a:p>
            <a:pPr algn="l">
              <a:defRPr/>
            </a:pPr>
            <a:r>
              <a:rPr lang="en-GB" altLang="en-US" sz="2856" kern="0" dirty="0"/>
              <a:t>Each layer can be thought of as a set of features</a:t>
            </a:r>
            <a:endParaRPr lang="en-GB" altLang="en-US" sz="4488" b="1" kern="0" dirty="0"/>
          </a:p>
        </p:txBody>
      </p:sp>
      <p:sp>
        <p:nvSpPr>
          <p:cNvPr id="8"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The New Way To Train Multi-Layer NNs…</a:t>
            </a: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24745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Content Placeholder 2"/>
          <p:cNvSpPr>
            <a:spLocks noGrp="1"/>
          </p:cNvSpPr>
          <p:nvPr>
            <p:ph idx="1"/>
          </p:nvPr>
        </p:nvSpPr>
        <p:spPr>
          <a:xfrm>
            <a:off x="715237" y="1205169"/>
            <a:ext cx="11285173" cy="1158204"/>
          </a:xfrm>
        </p:spPr>
        <p:txBody>
          <a:bodyPr>
            <a:noAutofit/>
          </a:bodyPr>
          <a:lstStyle/>
          <a:p>
            <a:r>
              <a:rPr lang="en-GB" altLang="en-US" sz="2300" dirty="0"/>
              <a:t>There are many types of deep learning</a:t>
            </a:r>
          </a:p>
          <a:p>
            <a:r>
              <a:rPr lang="en-GB" altLang="en-US" sz="2300" dirty="0"/>
              <a:t>Different kinds of autoencoder, variations on architectures and training algorithms, etc.</a:t>
            </a:r>
          </a:p>
          <a:p>
            <a:r>
              <a:rPr lang="en-GB" altLang="en-US" sz="2300" dirty="0"/>
              <a:t>It’s a growing area</a:t>
            </a:r>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Idea Behind Deep Learning</a:t>
            </a:r>
          </a:p>
        </p:txBody>
      </p:sp>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40183" y="2159697"/>
            <a:ext cx="7286847" cy="4717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07389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Common DNNs</a:t>
            </a:r>
          </a:p>
        </p:txBody>
      </p:sp>
      <p:sp>
        <p:nvSpPr>
          <p:cNvPr id="7" name="Content Placeholder 2"/>
          <p:cNvSpPr>
            <a:spLocks noGrp="1"/>
          </p:cNvSpPr>
          <p:nvPr>
            <p:ph idx="1"/>
          </p:nvPr>
        </p:nvSpPr>
        <p:spPr>
          <a:xfrm>
            <a:off x="826991" y="1327191"/>
            <a:ext cx="10539704" cy="5563660"/>
          </a:xfrm>
          <a:solidFill>
            <a:schemeClr val="bg1"/>
          </a:solidFill>
        </p:spPr>
        <p:txBody>
          <a:bodyPr>
            <a:noAutofit/>
          </a:bodyPr>
          <a:lstStyle/>
          <a:p>
            <a:pPr>
              <a:buFont typeface="Wingdings" panose="05000000000000000000" pitchFamily="2" charset="2"/>
              <a:buChar char="q"/>
            </a:pPr>
            <a:r>
              <a:rPr lang="en-US" sz="2000" dirty="0"/>
              <a:t> Deep Convolutional Neural Network (DCNN)</a:t>
            </a:r>
          </a:p>
          <a:p>
            <a:pPr lvl="1">
              <a:buFont typeface="Wingdings" panose="05000000000000000000" pitchFamily="2" charset="2"/>
              <a:buChar char="§"/>
            </a:pPr>
            <a:r>
              <a:rPr lang="en-US" sz="2000" dirty="0">
                <a:latin typeface="+mj-lt"/>
              </a:rPr>
              <a:t>To extract representation from images</a:t>
            </a:r>
          </a:p>
          <a:p>
            <a:pPr marL="0" indent="0">
              <a:buNone/>
            </a:pPr>
            <a:endParaRPr lang="en-US" sz="2000" dirty="0"/>
          </a:p>
          <a:p>
            <a:pPr>
              <a:buFont typeface="Wingdings" panose="05000000000000000000" pitchFamily="2" charset="2"/>
              <a:buChar char="q"/>
            </a:pPr>
            <a:r>
              <a:rPr lang="en-US" sz="2000" dirty="0"/>
              <a:t> Recurrent Neural Network (RNN)</a:t>
            </a:r>
          </a:p>
          <a:p>
            <a:pPr lvl="1">
              <a:buFont typeface="Wingdings" panose="05000000000000000000" pitchFamily="2" charset="2"/>
              <a:buChar char="§"/>
            </a:pPr>
            <a:r>
              <a:rPr lang="en-US" sz="2000" dirty="0">
                <a:latin typeface="+mj-lt"/>
              </a:rPr>
              <a:t>To extract representation from sequential data</a:t>
            </a:r>
          </a:p>
          <a:p>
            <a:pPr marL="466298" lvl="1" indent="0">
              <a:buNone/>
            </a:pPr>
            <a:endParaRPr lang="en-US" sz="2000" dirty="0">
              <a:latin typeface="+mj-lt"/>
            </a:endParaRPr>
          </a:p>
          <a:p>
            <a:pPr>
              <a:buFont typeface="Wingdings" panose="05000000000000000000" pitchFamily="2" charset="2"/>
              <a:buChar char="q"/>
            </a:pPr>
            <a:r>
              <a:rPr lang="en-US" sz="2000" dirty="0"/>
              <a:t>Deep Belief Neural Network (DBN)</a:t>
            </a:r>
          </a:p>
          <a:p>
            <a:pPr lvl="1">
              <a:buFont typeface="Wingdings" panose="05000000000000000000" pitchFamily="2" charset="2"/>
              <a:buChar char="§"/>
            </a:pPr>
            <a:r>
              <a:rPr lang="en-US" sz="2000" dirty="0">
                <a:latin typeface="+mj-lt"/>
              </a:rPr>
              <a:t>To extract hierarchical representation from a dataset</a:t>
            </a:r>
          </a:p>
          <a:p>
            <a:pPr marL="466298" lvl="1" indent="0">
              <a:buNone/>
            </a:pPr>
            <a:endParaRPr lang="en-US" sz="2000" dirty="0">
              <a:latin typeface="+mj-lt"/>
            </a:endParaRPr>
          </a:p>
          <a:p>
            <a:pPr>
              <a:buFont typeface="Wingdings" panose="05000000000000000000" pitchFamily="2" charset="2"/>
              <a:buChar char="q"/>
            </a:pPr>
            <a:r>
              <a:rPr lang="en-US" sz="2000" dirty="0"/>
              <a:t> Deep Reinforcement Learning (DQN)</a:t>
            </a:r>
          </a:p>
          <a:p>
            <a:pPr lvl="1">
              <a:buFont typeface="Wingdings" panose="05000000000000000000" pitchFamily="2" charset="2"/>
              <a:buChar char="§"/>
            </a:pPr>
            <a:r>
              <a:rPr lang="en-US" sz="2000" dirty="0">
                <a:latin typeface="+mj-lt"/>
              </a:rPr>
              <a:t>To prescribe how agents should act in an environment in order to maximize future cumulative reward (e.g., a game score)</a:t>
            </a:r>
          </a:p>
          <a:p>
            <a:pPr marL="466298" lvl="1" indent="0">
              <a:buNone/>
            </a:pPr>
            <a:endParaRPr lang="en-US" sz="2000" b="1" dirty="0">
              <a:latin typeface="+mj-lt"/>
            </a:endParaRPr>
          </a:p>
          <a:p>
            <a:pPr marL="466298" lvl="1" indent="0">
              <a:buNone/>
            </a:pPr>
            <a:r>
              <a:rPr lang="en-US" sz="2300" b="1" dirty="0">
                <a:solidFill>
                  <a:srgbClr val="FF0000"/>
                </a:solidFill>
                <a:latin typeface="+mj-lt"/>
              </a:rPr>
              <a:t>We will cover DCNN today</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27031" y="6131949"/>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54467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2145632" cy="1984408"/>
          </a:xfrm>
        </p:spPr>
        <p:txBody>
          <a:bodyPr>
            <a:normAutofit/>
          </a:bodyPr>
          <a:lstStyle/>
          <a:p>
            <a:pPr>
              <a:spcAft>
                <a:spcPts val="600"/>
              </a:spcAft>
            </a:pPr>
            <a:r>
              <a:rPr lang="en-US" sz="7000" b="1" dirty="0">
                <a:solidFill>
                  <a:schemeClr val="bg1"/>
                </a:solidFill>
              </a:rPr>
              <a:t>Deep Learning Frameworks</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213576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Open Source Deep Learning Frameworks</a:t>
            </a:r>
          </a:p>
          <a:p>
            <a:pPr algn="just"/>
            <a:endParaRPr lang="en-US" sz="4400" b="1"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266DF897-F481-47E2-9731-A02D71B6A035}"/>
              </a:ext>
            </a:extLst>
          </p:cNvPr>
          <p:cNvPicPr>
            <a:picLocks noChangeAspect="1"/>
          </p:cNvPicPr>
          <p:nvPr/>
        </p:nvPicPr>
        <p:blipFill rotWithShape="1">
          <a:blip r:embed="rId4"/>
          <a:srcRect l="20723" t="38223" r="21709" b="13220"/>
          <a:stretch/>
        </p:blipFill>
        <p:spPr>
          <a:xfrm>
            <a:off x="660844" y="1150468"/>
            <a:ext cx="11011016" cy="5224205"/>
          </a:xfrm>
          <a:prstGeom prst="rect">
            <a:avLst/>
          </a:prstGeom>
        </p:spPr>
      </p:pic>
    </p:spTree>
    <p:extLst>
      <p:ext uri="{BB962C8B-B14F-4D97-AF65-F5344CB8AC3E}">
        <p14:creationId xmlns:p14="http://schemas.microsoft.com/office/powerpoint/2010/main" val="128999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Symbolic vs Imperative Programs</a:t>
            </a:r>
          </a:p>
          <a:p>
            <a:pPr algn="just"/>
            <a:endParaRPr lang="en-US" sz="4400" b="1"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a:extLst>
              <a:ext uri="{FF2B5EF4-FFF2-40B4-BE49-F238E27FC236}">
                <a16:creationId xmlns:a16="http://schemas.microsoft.com/office/drawing/2014/main" id="{F877FF73-F6E7-498F-A7CA-52D5D9BBC7A2}"/>
              </a:ext>
            </a:extLst>
          </p:cNvPr>
          <p:cNvSpPr txBox="1">
            <a:spLocks/>
          </p:cNvSpPr>
          <p:nvPr/>
        </p:nvSpPr>
        <p:spPr>
          <a:xfrm>
            <a:off x="715237" y="1205169"/>
            <a:ext cx="11285173" cy="1158204"/>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t>Two fundamental programming models with Deep Learning toolkits: </a:t>
            </a:r>
            <a:r>
              <a:rPr lang="en-US" sz="2400" b="1" i="1" dirty="0"/>
              <a:t>Symbolic</a:t>
            </a:r>
            <a:r>
              <a:rPr lang="en-US" sz="2400" b="1" dirty="0"/>
              <a:t> and </a:t>
            </a:r>
            <a:r>
              <a:rPr lang="en-US" sz="2400" b="1" i="1" dirty="0"/>
              <a:t>Imperative</a:t>
            </a:r>
          </a:p>
          <a:p>
            <a:endParaRPr lang="en-US" sz="2400" b="1" dirty="0"/>
          </a:p>
          <a:p>
            <a:pPr marL="0" indent="0">
              <a:buNone/>
            </a:pPr>
            <a:r>
              <a:rPr lang="en-US" sz="2500" b="1" dirty="0">
                <a:solidFill>
                  <a:schemeClr val="tx1">
                    <a:lumMod val="50000"/>
                  </a:schemeClr>
                </a:solidFill>
              </a:rPr>
              <a:t>Symbolic Programs</a:t>
            </a:r>
          </a:p>
          <a:p>
            <a:pPr marL="0" indent="0">
              <a:buNone/>
            </a:pPr>
            <a:endParaRPr lang="en-GB" altLang="en-US" sz="2300" dirty="0"/>
          </a:p>
          <a:p>
            <a:pPr lvl="2" indent="-342900"/>
            <a:r>
              <a:rPr lang="en-US" dirty="0"/>
              <a:t>Functions are defined abstractly through computation graphs</a:t>
            </a:r>
          </a:p>
          <a:p>
            <a:pPr lvl="2" indent="-342900"/>
            <a:endParaRPr lang="en-US" dirty="0"/>
          </a:p>
          <a:p>
            <a:pPr lvl="2" indent="-342900"/>
            <a:r>
              <a:rPr lang="en-US" dirty="0"/>
              <a:t>First, express complex functions in terms of placeholder values</a:t>
            </a:r>
          </a:p>
          <a:p>
            <a:pPr lvl="2" indent="-342900"/>
            <a:endParaRPr lang="en-US" dirty="0"/>
          </a:p>
          <a:p>
            <a:pPr lvl="2" indent="-342900"/>
            <a:r>
              <a:rPr lang="en-US" dirty="0"/>
              <a:t>Execute these functions by binding them to real values</a:t>
            </a:r>
          </a:p>
          <a:p>
            <a:pPr lvl="2" indent="-342900"/>
            <a:endParaRPr lang="en-US" dirty="0"/>
          </a:p>
          <a:p>
            <a:pPr lvl="2" indent="-342900"/>
            <a:r>
              <a:rPr lang="en-US" dirty="0"/>
              <a:t>Many deep learning libraries are symbolic due to its efficiency -  memory and runtime</a:t>
            </a:r>
          </a:p>
        </p:txBody>
      </p:sp>
    </p:spTree>
    <p:extLst>
      <p:ext uri="{BB962C8B-B14F-4D97-AF65-F5344CB8AC3E}">
        <p14:creationId xmlns:p14="http://schemas.microsoft.com/office/powerpoint/2010/main" val="254321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Symbolic vs Imperative Programs</a:t>
            </a:r>
          </a:p>
          <a:p>
            <a:pPr algn="just"/>
            <a:endParaRPr lang="en-US" sz="4400" b="1"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a:extLst>
              <a:ext uri="{FF2B5EF4-FFF2-40B4-BE49-F238E27FC236}">
                <a16:creationId xmlns:a16="http://schemas.microsoft.com/office/drawing/2014/main" id="{F877FF73-F6E7-498F-A7CA-52D5D9BBC7A2}"/>
              </a:ext>
            </a:extLst>
          </p:cNvPr>
          <p:cNvSpPr txBox="1">
            <a:spLocks/>
          </p:cNvSpPr>
          <p:nvPr/>
        </p:nvSpPr>
        <p:spPr>
          <a:xfrm>
            <a:off x="715237" y="1205169"/>
            <a:ext cx="11285173" cy="1158204"/>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500" b="1" dirty="0">
                <a:solidFill>
                  <a:schemeClr val="tx1">
                    <a:lumMod val="50000"/>
                  </a:schemeClr>
                </a:solidFill>
              </a:rPr>
              <a:t>Symbolic Programs</a:t>
            </a:r>
          </a:p>
          <a:p>
            <a:pPr marL="0" indent="0">
              <a:buNone/>
            </a:pPr>
            <a:endParaRPr lang="en-GB" altLang="en-US" sz="2300" dirty="0"/>
          </a:p>
          <a:p>
            <a:pPr marL="0" indent="0">
              <a:buNone/>
            </a:pPr>
            <a:r>
              <a:rPr lang="en-US" sz="2400" dirty="0"/>
              <a:t>Symbolic computation is useful for several reasons:</a:t>
            </a:r>
          </a:p>
          <a:p>
            <a:endParaRPr lang="en-US" sz="2400" dirty="0"/>
          </a:p>
          <a:p>
            <a:r>
              <a:rPr lang="en-US" sz="2400" dirty="0"/>
              <a:t>Because we define a full computation graph before executing it, sophisticated optimizations can be performed to eliminate unnecessary or repeated work. This tends to give better performance than imperative programming.</a:t>
            </a:r>
          </a:p>
          <a:p>
            <a:endParaRPr lang="en-US" sz="2400" dirty="0"/>
          </a:p>
          <a:p>
            <a:r>
              <a:rPr lang="en-US" sz="2400" dirty="0"/>
              <a:t>As the relationships between different variables are stored in the computation graph, we can then perform efficient auto-differentiation.</a:t>
            </a:r>
          </a:p>
          <a:p>
            <a:pPr marL="0" indent="0">
              <a:buNone/>
            </a:pPr>
            <a:endParaRPr lang="en-GB" altLang="en-US" sz="2300" dirty="0"/>
          </a:p>
        </p:txBody>
      </p:sp>
    </p:spTree>
    <p:extLst>
      <p:ext uri="{BB962C8B-B14F-4D97-AF65-F5344CB8AC3E}">
        <p14:creationId xmlns:p14="http://schemas.microsoft.com/office/powerpoint/2010/main" val="257295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1366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Different Levels Of Abstraction</a:t>
            </a:r>
          </a:p>
        </p:txBody>
      </p:sp>
      <p:sp>
        <p:nvSpPr>
          <p:cNvPr id="8" name="Text Placeholder 22"/>
          <p:cNvSpPr txBox="1">
            <a:spLocks/>
          </p:cNvSpPr>
          <p:nvPr/>
        </p:nvSpPr>
        <p:spPr>
          <a:xfrm>
            <a:off x="384738" y="1291356"/>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0" algn="just">
              <a:buNone/>
            </a:pPr>
            <a:r>
              <a:rPr lang="en-US" sz="2800" dirty="0">
                <a:solidFill>
                  <a:schemeClr val="tx1">
                    <a:lumMod val="75000"/>
                    <a:lumOff val="25000"/>
                  </a:schemeClr>
                </a:solidFill>
                <a:latin typeface="+mj-lt"/>
              </a:rPr>
              <a:t>Hierarchical Learning</a:t>
            </a:r>
          </a:p>
          <a:p>
            <a:pPr marL="342900" lvl="1" indent="0" algn="just">
              <a:buNone/>
            </a:pPr>
            <a:endParaRPr lang="en-US" sz="2800" dirty="0">
              <a:solidFill>
                <a:schemeClr val="tx1">
                  <a:lumMod val="75000"/>
                  <a:lumOff val="25000"/>
                </a:schemeClr>
              </a:solidFill>
              <a:latin typeface="+mj-lt"/>
            </a:endParaRPr>
          </a:p>
          <a:p>
            <a:pPr lvl="1" algn="just"/>
            <a:r>
              <a:rPr lang="en-US" sz="2800" dirty="0">
                <a:solidFill>
                  <a:schemeClr val="tx1">
                    <a:lumMod val="75000"/>
                    <a:lumOff val="25000"/>
                  </a:schemeClr>
                </a:solidFill>
                <a:latin typeface="+mj-lt"/>
              </a:rPr>
              <a:t>Natural progression from low level to high level structure as seen in natural complexity</a:t>
            </a:r>
          </a:p>
          <a:p>
            <a:pPr lvl="1" algn="just"/>
            <a:endParaRPr lang="en-US" sz="2800" dirty="0">
              <a:solidFill>
                <a:schemeClr val="tx1">
                  <a:lumMod val="75000"/>
                  <a:lumOff val="25000"/>
                </a:schemeClr>
              </a:solidFill>
              <a:latin typeface="+mj-lt"/>
            </a:endParaRPr>
          </a:p>
          <a:p>
            <a:pPr lvl="1" algn="just"/>
            <a:r>
              <a:rPr lang="en-US" sz="2800" dirty="0">
                <a:solidFill>
                  <a:schemeClr val="tx1">
                    <a:lumMod val="75000"/>
                    <a:lumOff val="25000"/>
                  </a:schemeClr>
                </a:solidFill>
                <a:latin typeface="+mj-lt"/>
              </a:rPr>
              <a:t>Easier to monitor what is being learnt and to guide the machine to better subspaces</a:t>
            </a:r>
          </a:p>
          <a:p>
            <a:pPr lvl="1" algn="just"/>
            <a:endParaRPr lang="en-US" sz="2800" dirty="0">
              <a:solidFill>
                <a:schemeClr val="tx1">
                  <a:lumMod val="75000"/>
                  <a:lumOff val="25000"/>
                </a:schemeClr>
              </a:solidFill>
              <a:latin typeface="+mj-lt"/>
            </a:endParaRPr>
          </a:p>
          <a:p>
            <a:pPr lvl="1" algn="just"/>
            <a:r>
              <a:rPr lang="en-US" sz="2800" dirty="0">
                <a:solidFill>
                  <a:schemeClr val="tx1">
                    <a:lumMod val="75000"/>
                    <a:lumOff val="25000"/>
                  </a:schemeClr>
                </a:solidFill>
                <a:latin typeface="+mj-lt"/>
              </a:rPr>
              <a:t>A good lower level representation can be used for many distinct tasks </a:t>
            </a:r>
          </a:p>
          <a:p>
            <a:pPr lvl="1" algn="just"/>
            <a:endParaRPr lang="en-US" sz="2800" dirty="0">
              <a:solidFill>
                <a:schemeClr val="tx1">
                  <a:lumMod val="75000"/>
                  <a:lumOff val="25000"/>
                </a:schemeClr>
              </a:solidFill>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4950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Symbolic vs Imperative Programs</a:t>
            </a:r>
          </a:p>
          <a:p>
            <a:pPr algn="just"/>
            <a:endParaRPr lang="en-US" sz="4400" b="1"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a:extLst>
              <a:ext uri="{FF2B5EF4-FFF2-40B4-BE49-F238E27FC236}">
                <a16:creationId xmlns:a16="http://schemas.microsoft.com/office/drawing/2014/main" id="{F877FF73-F6E7-498F-A7CA-52D5D9BBC7A2}"/>
              </a:ext>
            </a:extLst>
          </p:cNvPr>
          <p:cNvSpPr txBox="1">
            <a:spLocks/>
          </p:cNvSpPr>
          <p:nvPr/>
        </p:nvSpPr>
        <p:spPr>
          <a:xfrm>
            <a:off x="706924" y="1205169"/>
            <a:ext cx="11285173" cy="1158204"/>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500" b="1" dirty="0">
                <a:solidFill>
                  <a:schemeClr val="tx1">
                    <a:lumMod val="50000"/>
                  </a:schemeClr>
                </a:solidFill>
              </a:rPr>
              <a:t>Imperative Programs</a:t>
            </a:r>
          </a:p>
          <a:p>
            <a:pPr marL="0" indent="0">
              <a:buNone/>
            </a:pPr>
            <a:endParaRPr lang="en-US" sz="2500" b="1" dirty="0">
              <a:solidFill>
                <a:schemeClr val="tx1">
                  <a:lumMod val="50000"/>
                </a:schemeClr>
              </a:solidFill>
            </a:endParaRPr>
          </a:p>
          <a:p>
            <a:pPr algn="just"/>
            <a:r>
              <a:rPr lang="en-US" sz="2400" dirty="0"/>
              <a:t>Imperative style programs (Torch, Caffe, etc.) conduct the computation as we run them</a:t>
            </a:r>
          </a:p>
          <a:p>
            <a:pPr algn="just"/>
            <a:endParaRPr lang="en-US" sz="2400" dirty="0"/>
          </a:p>
          <a:p>
            <a:pPr algn="just"/>
            <a:r>
              <a:rPr lang="en-US" sz="2400" dirty="0"/>
              <a:t>More flexible than symbolic programs</a:t>
            </a:r>
          </a:p>
          <a:p>
            <a:pPr algn="just"/>
            <a:endParaRPr lang="en-US" sz="2400" dirty="0"/>
          </a:p>
          <a:p>
            <a:pPr algn="just"/>
            <a:r>
              <a:rPr lang="en-US" sz="2400" dirty="0"/>
              <a:t>More native than the symbolic ones</a:t>
            </a:r>
          </a:p>
          <a:p>
            <a:pPr lvl="1" algn="just"/>
            <a:r>
              <a:rPr lang="en-US" dirty="0">
                <a:latin typeface="+mj-lt"/>
              </a:rPr>
              <a:t>Easier to use native language features and inject them into computation flow</a:t>
            </a:r>
            <a:endParaRPr lang="en-GB" altLang="en-US" dirty="0"/>
          </a:p>
        </p:txBody>
      </p:sp>
    </p:spTree>
    <p:extLst>
      <p:ext uri="{BB962C8B-B14F-4D97-AF65-F5344CB8AC3E}">
        <p14:creationId xmlns:p14="http://schemas.microsoft.com/office/powerpoint/2010/main" val="346136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2145632" cy="1984408"/>
          </a:xfrm>
        </p:spPr>
        <p:txBody>
          <a:bodyPr>
            <a:normAutofit fontScale="90000"/>
          </a:bodyPr>
          <a:lstStyle/>
          <a:p>
            <a:pPr>
              <a:spcAft>
                <a:spcPts val="600"/>
              </a:spcAft>
            </a:pPr>
            <a:r>
              <a:rPr lang="en-US" sz="7000" b="1" dirty="0">
                <a:solidFill>
                  <a:schemeClr val="bg1"/>
                </a:solidFill>
              </a:rPr>
              <a:t>Deep Learning And Computer Vision</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65778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pic>
        <p:nvPicPr>
          <p:cNvPr id="257" name="Shape 257"/>
          <p:cNvPicPr preferRelativeResize="0"/>
          <p:nvPr/>
        </p:nvPicPr>
        <p:blipFill>
          <a:blip r:embed="rId3">
            <a:alphaModFix/>
          </a:blip>
          <a:stretch>
            <a:fillRect/>
          </a:stretch>
        </p:blipFill>
        <p:spPr>
          <a:xfrm>
            <a:off x="374412" y="1081340"/>
            <a:ext cx="2966503" cy="2480971"/>
          </a:xfrm>
          <a:prstGeom prst="rect">
            <a:avLst/>
          </a:prstGeom>
          <a:noFill/>
          <a:ln w="9525" cap="flat" cmpd="sng">
            <a:solidFill>
              <a:schemeClr val="dk2"/>
            </a:solidFill>
            <a:prstDash val="solid"/>
            <a:round/>
            <a:headEnd type="none" w="med" len="med"/>
            <a:tailEnd type="none" w="med" len="med"/>
          </a:ln>
        </p:spPr>
      </p:pic>
      <p:sp>
        <p:nvSpPr>
          <p:cNvPr id="258" name="Shape 258"/>
          <p:cNvSpPr txBox="1"/>
          <p:nvPr/>
        </p:nvSpPr>
        <p:spPr>
          <a:xfrm>
            <a:off x="247373" y="3479534"/>
            <a:ext cx="4009868" cy="422650"/>
          </a:xfrm>
          <a:prstGeom prst="rect">
            <a:avLst/>
          </a:prstGeom>
          <a:noFill/>
          <a:ln>
            <a:noFill/>
          </a:ln>
        </p:spPr>
        <p:txBody>
          <a:bodyPr lIns="124327" tIns="124327" rIns="124327" bIns="124327" anchor="t" anchorCtr="0">
            <a:noAutofit/>
          </a:bodyPr>
          <a:lstStyle/>
          <a:p>
            <a:r>
              <a:rPr lang="en" sz="2448" dirty="0"/>
              <a:t>e.g. Google Photos search</a:t>
            </a:r>
          </a:p>
        </p:txBody>
      </p:sp>
      <p:pic>
        <p:nvPicPr>
          <p:cNvPr id="259" name="Shape 259"/>
          <p:cNvPicPr preferRelativeResize="0"/>
          <p:nvPr/>
        </p:nvPicPr>
        <p:blipFill>
          <a:blip r:embed="rId4">
            <a:alphaModFix/>
          </a:blip>
          <a:stretch>
            <a:fillRect/>
          </a:stretch>
        </p:blipFill>
        <p:spPr>
          <a:xfrm>
            <a:off x="3466527" y="1081340"/>
            <a:ext cx="7709513" cy="1723031"/>
          </a:xfrm>
          <a:prstGeom prst="rect">
            <a:avLst/>
          </a:prstGeom>
          <a:noFill/>
          <a:ln w="9525" cap="flat" cmpd="sng">
            <a:solidFill>
              <a:srgbClr val="000000"/>
            </a:solidFill>
            <a:prstDash val="solid"/>
            <a:round/>
            <a:headEnd type="none" w="med" len="med"/>
            <a:tailEnd type="none" w="med" len="med"/>
          </a:ln>
        </p:spPr>
      </p:pic>
      <p:sp>
        <p:nvSpPr>
          <p:cNvPr id="260" name="Shape 260"/>
          <p:cNvSpPr txBox="1"/>
          <p:nvPr/>
        </p:nvSpPr>
        <p:spPr>
          <a:xfrm>
            <a:off x="3392617" y="2700748"/>
            <a:ext cx="7540787" cy="422650"/>
          </a:xfrm>
          <a:prstGeom prst="rect">
            <a:avLst/>
          </a:prstGeom>
          <a:noFill/>
          <a:ln>
            <a:noFill/>
          </a:ln>
        </p:spPr>
        <p:txBody>
          <a:bodyPr lIns="124327" tIns="124327" rIns="124327" bIns="124327" anchor="t" anchorCtr="0">
            <a:noAutofit/>
          </a:bodyPr>
          <a:lstStyle/>
          <a:p>
            <a:r>
              <a:rPr lang="en" sz="2448" dirty="0"/>
              <a:t>Face Verification, Taigman et al. 2014 (FAIR)</a:t>
            </a:r>
          </a:p>
        </p:txBody>
      </p:sp>
      <p:pic>
        <p:nvPicPr>
          <p:cNvPr id="261" name="Shape 261"/>
          <p:cNvPicPr preferRelativeResize="0"/>
          <p:nvPr/>
        </p:nvPicPr>
        <p:blipFill>
          <a:blip r:embed="rId5">
            <a:alphaModFix/>
          </a:blip>
          <a:stretch>
            <a:fillRect/>
          </a:stretch>
        </p:blipFill>
        <p:spPr>
          <a:xfrm>
            <a:off x="4508466" y="3382965"/>
            <a:ext cx="6667574" cy="3222941"/>
          </a:xfrm>
          <a:prstGeom prst="rect">
            <a:avLst/>
          </a:prstGeom>
          <a:noFill/>
          <a:ln>
            <a:noFill/>
          </a:ln>
        </p:spPr>
      </p:pic>
      <p:sp>
        <p:nvSpPr>
          <p:cNvPr id="262" name="Shape 262"/>
          <p:cNvSpPr txBox="1"/>
          <p:nvPr/>
        </p:nvSpPr>
        <p:spPr>
          <a:xfrm>
            <a:off x="6977047" y="6487187"/>
            <a:ext cx="4009867" cy="422650"/>
          </a:xfrm>
          <a:prstGeom prst="rect">
            <a:avLst/>
          </a:prstGeom>
          <a:noFill/>
          <a:ln>
            <a:noFill/>
          </a:ln>
        </p:spPr>
        <p:txBody>
          <a:bodyPr lIns="124327" tIns="124327" rIns="124327" bIns="124327" anchor="t" anchorCtr="0">
            <a:noAutofit/>
          </a:bodyPr>
          <a:lstStyle/>
          <a:p>
            <a:r>
              <a:rPr lang="en" sz="2448" dirty="0"/>
              <a:t>Self-driving cars</a:t>
            </a:r>
          </a:p>
        </p:txBody>
      </p:sp>
      <p:pic>
        <p:nvPicPr>
          <p:cNvPr id="263" name="Shape 263"/>
          <p:cNvPicPr preferRelativeResize="0"/>
          <p:nvPr/>
        </p:nvPicPr>
        <p:blipFill>
          <a:blip r:embed="rId6">
            <a:alphaModFix/>
          </a:blip>
          <a:stretch>
            <a:fillRect/>
          </a:stretch>
        </p:blipFill>
        <p:spPr>
          <a:xfrm>
            <a:off x="350930" y="4017856"/>
            <a:ext cx="3244970" cy="2469331"/>
          </a:xfrm>
          <a:prstGeom prst="rect">
            <a:avLst/>
          </a:prstGeom>
          <a:noFill/>
          <a:ln>
            <a:noFill/>
          </a:ln>
        </p:spPr>
      </p:pic>
      <p:sp>
        <p:nvSpPr>
          <p:cNvPr id="264" name="Shape 264"/>
          <p:cNvSpPr txBox="1"/>
          <p:nvPr/>
        </p:nvSpPr>
        <p:spPr>
          <a:xfrm>
            <a:off x="247373" y="6332323"/>
            <a:ext cx="4009868" cy="422650"/>
          </a:xfrm>
          <a:prstGeom prst="rect">
            <a:avLst/>
          </a:prstGeom>
          <a:noFill/>
          <a:ln>
            <a:noFill/>
          </a:ln>
        </p:spPr>
        <p:txBody>
          <a:bodyPr lIns="124327" tIns="124327" rIns="124327" bIns="124327" anchor="t" anchorCtr="0">
            <a:noAutofit/>
          </a:bodyPr>
          <a:lstStyle/>
          <a:p>
            <a:r>
              <a:rPr lang="en" sz="2448" dirty="0"/>
              <a:t>[Goodfellow et al. 2014]</a:t>
            </a:r>
          </a:p>
        </p:txBody>
      </p:sp>
      <p:sp>
        <p:nvSpPr>
          <p:cNvPr id="13"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ConvNet</a:t>
            </a:r>
          </a:p>
        </p:txBody>
      </p:sp>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90808" y="434191"/>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87770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Image Classification</a:t>
            </a:r>
          </a:p>
        </p:txBody>
      </p:sp>
      <p:sp>
        <p:nvSpPr>
          <p:cNvPr id="8" name="Text Placeholder 22"/>
          <p:cNvSpPr txBox="1">
            <a:spLocks/>
          </p:cNvSpPr>
          <p:nvPr/>
        </p:nvSpPr>
        <p:spPr>
          <a:xfrm>
            <a:off x="384737" y="1518343"/>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dirty="0">
                <a:solidFill>
                  <a:schemeClr val="tx1">
                    <a:lumMod val="75000"/>
                    <a:lumOff val="25000"/>
                  </a:schemeClr>
                </a:solidFill>
                <a:latin typeface="+mj-lt"/>
              </a:rPr>
              <a:t>Task of taking an input image and outputting a class</a:t>
            </a:r>
          </a:p>
          <a:p>
            <a:pPr lvl="1" algn="just"/>
            <a:r>
              <a:rPr lang="en-US" dirty="0">
                <a:solidFill>
                  <a:schemeClr val="tx1">
                    <a:lumMod val="75000"/>
                    <a:lumOff val="25000"/>
                  </a:schemeClr>
                </a:solidFill>
                <a:latin typeface="+mj-lt"/>
              </a:rPr>
              <a:t>Probability of classes that best describes the image</a:t>
            </a:r>
          </a:p>
          <a:p>
            <a:pPr lvl="1" algn="just"/>
            <a:r>
              <a:rPr lang="en-US" dirty="0">
                <a:solidFill>
                  <a:schemeClr val="tx1">
                    <a:lumMod val="75000"/>
                    <a:lumOff val="25000"/>
                  </a:schemeClr>
                </a:solidFill>
                <a:latin typeface="+mj-lt"/>
              </a:rPr>
              <a:t>For humans, effortless task</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4"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2364" y="3135156"/>
            <a:ext cx="3834381" cy="33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6"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22057" y="3051590"/>
            <a:ext cx="4250411" cy="3426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859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Input Image</a:t>
            </a:r>
          </a:p>
        </p:txBody>
      </p:sp>
      <p:sp>
        <p:nvSpPr>
          <p:cNvPr id="8" name="Text Placeholder 22"/>
          <p:cNvSpPr txBox="1">
            <a:spLocks/>
          </p:cNvSpPr>
          <p:nvPr/>
        </p:nvSpPr>
        <p:spPr>
          <a:xfrm>
            <a:off x="272682" y="1460641"/>
            <a:ext cx="11719021"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sz="2800" dirty="0">
                <a:solidFill>
                  <a:schemeClr val="tx1">
                    <a:lumMod val="75000"/>
                    <a:lumOff val="25000"/>
                  </a:schemeClr>
                </a:solidFill>
                <a:latin typeface="+mj-lt"/>
              </a:rPr>
              <a:t>An image is an an array of pixel values</a:t>
            </a:r>
          </a:p>
          <a:p>
            <a:pPr lvl="1" algn="just"/>
            <a:r>
              <a:rPr lang="en-US" sz="2800" dirty="0">
                <a:solidFill>
                  <a:schemeClr val="tx1">
                    <a:lumMod val="75000"/>
                    <a:lumOff val="25000"/>
                  </a:schemeClr>
                </a:solidFill>
                <a:latin typeface="+mj-lt"/>
              </a:rPr>
              <a:t>A JPG color image with size 480 x 480: </a:t>
            </a:r>
          </a:p>
          <a:p>
            <a:pPr lvl="2" algn="just"/>
            <a:r>
              <a:rPr lang="en-US" sz="2400" dirty="0">
                <a:solidFill>
                  <a:schemeClr val="tx1">
                    <a:lumMod val="75000"/>
                    <a:lumOff val="25000"/>
                  </a:schemeClr>
                </a:solidFill>
                <a:latin typeface="+mj-lt"/>
              </a:rPr>
              <a:t>The representative array will be 480 x 480 x 3. Each number is given a value from 0 to 255 which is the pixel intensity</a:t>
            </a:r>
          </a:p>
          <a:p>
            <a:pPr lvl="1" algn="just"/>
            <a:r>
              <a:rPr lang="en-US" sz="2800" dirty="0">
                <a:solidFill>
                  <a:schemeClr val="tx1">
                    <a:lumMod val="75000"/>
                    <a:lumOff val="25000"/>
                  </a:schemeClr>
                </a:solidFill>
                <a:latin typeface="+mj-lt"/>
              </a:rPr>
              <a:t>Grey scale image contains a single sample (intensity value) for each pixel</a:t>
            </a:r>
          </a:p>
          <a:p>
            <a:pPr lvl="1" algn="just"/>
            <a:r>
              <a:rPr lang="en-US" sz="2800" dirty="0">
                <a:solidFill>
                  <a:schemeClr val="tx1">
                    <a:lumMod val="75000"/>
                    <a:lumOff val="25000"/>
                  </a:schemeClr>
                </a:solidFill>
                <a:latin typeface="+mj-lt"/>
              </a:rPr>
              <a:t>Image Classification:</a:t>
            </a:r>
          </a:p>
          <a:p>
            <a:pPr lvl="2" algn="just"/>
            <a:r>
              <a:rPr lang="en-US" sz="2400" dirty="0">
                <a:solidFill>
                  <a:schemeClr val="tx1">
                    <a:lumMod val="75000"/>
                    <a:lumOff val="25000"/>
                  </a:schemeClr>
                </a:solidFill>
                <a:latin typeface="+mj-lt"/>
              </a:rPr>
              <a:t>Given an array of numbers, produce probabilities of the image being a certain class</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500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anim calcmode="lin" valueType="num">
                                      <p:cBhvr additive="base">
                                        <p:cTn id="25"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additive="base">
                                        <p:cTn id="31"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8">
                                            <p:txEl>
                                              <p:pRg st="5" end="5"/>
                                            </p:txEl>
                                          </p:spTgt>
                                        </p:tgtEl>
                                        <p:attrNameLst>
                                          <p:attrName>style.visibility</p:attrName>
                                        </p:attrNameLst>
                                      </p:cBhvr>
                                      <p:to>
                                        <p:strVal val="visible"/>
                                      </p:to>
                                    </p:set>
                                    <p:anim calcmode="lin" valueType="num">
                                      <p:cBhvr additive="base">
                                        <p:cTn id="37"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Convolutional Neural Networks</a:t>
            </a:r>
          </a:p>
          <a:p>
            <a:pPr algn="just"/>
            <a:endParaRPr lang="en-US" sz="4400" b="1" dirty="0"/>
          </a:p>
          <a:p>
            <a:pPr algn="just"/>
            <a:endParaRPr lang="en-US" sz="4400" b="1" dirty="0"/>
          </a:p>
          <a:p>
            <a:pPr algn="just"/>
            <a:endParaRPr lang="en-US" sz="4400" b="1" dirty="0"/>
          </a:p>
          <a:p>
            <a:pPr algn="just"/>
            <a:endParaRPr lang="en-US" sz="4400" b="1" dirty="0"/>
          </a:p>
          <a:p>
            <a:pPr algn="just"/>
            <a:endParaRPr lang="en-US" sz="4400" b="1" dirty="0"/>
          </a:p>
        </p:txBody>
      </p:sp>
      <p:sp>
        <p:nvSpPr>
          <p:cNvPr id="8" name="Text Placeholder 22"/>
          <p:cNvSpPr txBox="1">
            <a:spLocks/>
          </p:cNvSpPr>
          <p:nvPr/>
        </p:nvSpPr>
        <p:spPr>
          <a:xfrm>
            <a:off x="420633" y="1489240"/>
            <a:ext cx="11853669"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0" algn="just">
              <a:buNone/>
            </a:pPr>
            <a:r>
              <a:rPr lang="en-US" sz="3200" dirty="0">
                <a:solidFill>
                  <a:schemeClr val="tx1">
                    <a:lumMod val="75000"/>
                    <a:lumOff val="25000"/>
                  </a:schemeClr>
                </a:solidFill>
                <a:latin typeface="+mj-lt"/>
              </a:rPr>
              <a:t>Three basic ideas:</a:t>
            </a:r>
          </a:p>
          <a:p>
            <a:pPr lvl="1" algn="just"/>
            <a:r>
              <a:rPr lang="en-US" sz="3200" dirty="0">
                <a:solidFill>
                  <a:schemeClr val="tx1">
                    <a:lumMod val="75000"/>
                    <a:lumOff val="25000"/>
                  </a:schemeClr>
                </a:solidFill>
                <a:latin typeface="+mj-lt"/>
              </a:rPr>
              <a:t>Local receptive fields</a:t>
            </a:r>
          </a:p>
          <a:p>
            <a:pPr lvl="1" algn="just"/>
            <a:r>
              <a:rPr lang="en-US" sz="3200" dirty="0">
                <a:solidFill>
                  <a:schemeClr val="tx1">
                    <a:lumMod val="75000"/>
                    <a:lumOff val="25000"/>
                  </a:schemeClr>
                </a:solidFill>
                <a:latin typeface="+mj-lt"/>
              </a:rPr>
              <a:t>Shared weights</a:t>
            </a:r>
          </a:p>
          <a:p>
            <a:pPr lvl="1" algn="just"/>
            <a:r>
              <a:rPr lang="en-US" sz="3200" dirty="0">
                <a:solidFill>
                  <a:schemeClr val="tx1">
                    <a:lumMod val="75000"/>
                    <a:lumOff val="25000"/>
                  </a:schemeClr>
                </a:solidFill>
                <a:latin typeface="+mj-lt"/>
              </a:rPr>
              <a:t>Pooling</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1235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anim calcmode="lin" valueType="num">
                                      <p:cBhvr additive="base">
                                        <p:cTn id="25"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Local Receptive Fields</a:t>
            </a:r>
          </a:p>
        </p:txBody>
      </p:sp>
      <p:sp>
        <p:nvSpPr>
          <p:cNvPr id="8" name="Text Placeholder 22"/>
          <p:cNvSpPr txBox="1">
            <a:spLocks/>
          </p:cNvSpPr>
          <p:nvPr/>
        </p:nvSpPr>
        <p:spPr>
          <a:xfrm>
            <a:off x="384738" y="1518343"/>
            <a:ext cx="1172888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sz="2300" dirty="0">
                <a:solidFill>
                  <a:schemeClr val="tx1">
                    <a:lumMod val="75000"/>
                    <a:lumOff val="25000"/>
                  </a:schemeClr>
                </a:solidFill>
                <a:latin typeface="+mj-lt"/>
              </a:rPr>
              <a:t>Connections are from small, localized regions of the input image to hidden layers</a:t>
            </a:r>
          </a:p>
          <a:p>
            <a:pPr lvl="1" algn="just"/>
            <a:r>
              <a:rPr lang="en-US" sz="2300" dirty="0">
                <a:solidFill>
                  <a:schemeClr val="tx1">
                    <a:lumMod val="75000"/>
                    <a:lumOff val="25000"/>
                  </a:schemeClr>
                </a:solidFill>
                <a:latin typeface="+mj-lt"/>
              </a:rPr>
              <a:t>A little window on the input pixels</a:t>
            </a:r>
          </a:p>
          <a:p>
            <a:pPr lvl="1" algn="just"/>
            <a:r>
              <a:rPr lang="en-US" sz="2300" dirty="0">
                <a:solidFill>
                  <a:schemeClr val="tx1">
                    <a:lumMod val="75000"/>
                    <a:lumOff val="25000"/>
                  </a:schemeClr>
                </a:solidFill>
                <a:latin typeface="+mj-lt"/>
              </a:rPr>
              <a:t>Each neuron in the first hidden layer is connected to a small region of the input neurons. For example, a 5x5 region</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7" descr="http://neuralnetworksanddeeplearning.com/images/tikz4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7807" y="3084992"/>
            <a:ext cx="4880020" cy="3218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17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Local Receptive Fields</a:t>
            </a:r>
          </a:p>
          <a:p>
            <a:pPr algn="just"/>
            <a:endParaRPr lang="en-US" sz="4400" b="1" dirty="0"/>
          </a:p>
          <a:p>
            <a:pPr algn="just"/>
            <a:endParaRPr lang="en-US" sz="4400" b="1" dirty="0"/>
          </a:p>
          <a:p>
            <a:pPr algn="just"/>
            <a:endParaRPr lang="en-US" sz="4400" b="1" dirty="0"/>
          </a:p>
          <a:p>
            <a:pPr algn="just"/>
            <a:endParaRPr lang="en-US" sz="4400" b="1" dirty="0"/>
          </a:p>
          <a:p>
            <a:pPr algn="just"/>
            <a:endParaRPr lang="en-US" sz="4400" b="1"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469" y="1147102"/>
            <a:ext cx="5350977" cy="2582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8469" y="3835788"/>
            <a:ext cx="5350977" cy="2559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6258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Pooling Layers</a:t>
            </a:r>
          </a:p>
          <a:p>
            <a:pPr algn="just"/>
            <a:endParaRPr lang="en-US" sz="4400" b="1" dirty="0"/>
          </a:p>
          <a:p>
            <a:pPr algn="just"/>
            <a:endParaRPr lang="en-US" sz="4400" b="1" dirty="0"/>
          </a:p>
          <a:p>
            <a:pPr algn="just"/>
            <a:endParaRPr lang="en-US" sz="4400" b="1" dirty="0"/>
          </a:p>
          <a:p>
            <a:pPr algn="just"/>
            <a:endParaRPr lang="en-US" sz="4400" b="1" dirty="0"/>
          </a:p>
        </p:txBody>
      </p:sp>
      <mc:AlternateContent xmlns:mc="http://schemas.openxmlformats.org/markup-compatibility/2006" xmlns:a14="http://schemas.microsoft.com/office/drawing/2010/main">
        <mc:Choice Requires="a14">
          <p:sp>
            <p:nvSpPr>
              <p:cNvPr id="8" name="Text Placeholder 22"/>
              <p:cNvSpPr txBox="1">
                <a:spLocks/>
              </p:cNvSpPr>
              <p:nvPr/>
            </p:nvSpPr>
            <p:spPr>
              <a:xfrm>
                <a:off x="258128" y="1417351"/>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0" algn="just">
                  <a:buNone/>
                </a:pPr>
                <a:r>
                  <a:rPr lang="en-US" sz="2200" dirty="0">
                    <a:solidFill>
                      <a:schemeClr val="tx1">
                        <a:lumMod val="75000"/>
                        <a:lumOff val="25000"/>
                      </a:schemeClr>
                    </a:solidFill>
                    <a:latin typeface="+mj-lt"/>
                  </a:rPr>
                  <a:t>Often used immediately after convolutional layers</a:t>
                </a:r>
              </a:p>
              <a:p>
                <a:pPr lvl="1" algn="just"/>
                <a:r>
                  <a:rPr lang="en-US" sz="2200" dirty="0">
                    <a:solidFill>
                      <a:schemeClr val="tx1">
                        <a:lumMod val="75000"/>
                        <a:lumOff val="25000"/>
                      </a:schemeClr>
                    </a:solidFill>
                    <a:latin typeface="+mj-lt"/>
                  </a:rPr>
                  <a:t>Simplify the information in the output from the convolutional layer</a:t>
                </a:r>
              </a:p>
              <a:p>
                <a:pPr lvl="1" algn="just"/>
                <a:r>
                  <a:rPr lang="en-US" sz="2200" dirty="0">
                    <a:solidFill>
                      <a:schemeClr val="tx1">
                        <a:lumMod val="75000"/>
                        <a:lumOff val="25000"/>
                      </a:schemeClr>
                    </a:solidFill>
                    <a:latin typeface="+mj-lt"/>
                  </a:rPr>
                  <a:t>Takes each feature map output from the convolutional layer and prepares a condensed feature map</a:t>
                </a:r>
              </a:p>
              <a:p>
                <a:pPr lvl="1" algn="just"/>
                <a:r>
                  <a:rPr lang="en-US" sz="2200" dirty="0">
                    <a:solidFill>
                      <a:schemeClr val="tx1">
                        <a:lumMod val="75000"/>
                        <a:lumOff val="25000"/>
                      </a:schemeClr>
                    </a:solidFill>
                    <a:latin typeface="+mj-lt"/>
                  </a:rPr>
                  <a:t>Max-pooling: </a:t>
                </a:r>
              </a:p>
              <a:p>
                <a:pPr marL="342900" lvl="1" indent="0" algn="just">
                  <a:buNone/>
                </a:pPr>
                <a:r>
                  <a:rPr lang="en-US" sz="2200" dirty="0">
                    <a:solidFill>
                      <a:schemeClr val="tx1">
                        <a:lumMod val="75000"/>
                        <a:lumOff val="25000"/>
                      </a:schemeClr>
                    </a:solidFill>
                    <a:latin typeface="+mj-lt"/>
                  </a:rPr>
                  <a:t>           A pooling unit simply outputs the maximum activation in the </a:t>
                </a:r>
                <a14:m>
                  <m:oMath xmlns:m="http://schemas.openxmlformats.org/officeDocument/2006/math">
                    <m:r>
                      <a:rPr lang="en-US" sz="2200" i="1" dirty="0" smtClean="0">
                        <a:solidFill>
                          <a:schemeClr val="tx1">
                            <a:lumMod val="75000"/>
                            <a:lumOff val="25000"/>
                          </a:schemeClr>
                        </a:solidFill>
                        <a:latin typeface="Cambria Math"/>
                      </a:rPr>
                      <m:t>𝑝</m:t>
                    </m:r>
                    <m:r>
                      <a:rPr lang="en-US" sz="2200" i="1" dirty="0" smtClean="0">
                        <a:solidFill>
                          <a:schemeClr val="tx1">
                            <a:lumMod val="75000"/>
                            <a:lumOff val="25000"/>
                          </a:schemeClr>
                        </a:solidFill>
                        <a:latin typeface="Cambria Math"/>
                        <a:ea typeface="Cambria Math"/>
                      </a:rPr>
                      <m:t>×</m:t>
                    </m:r>
                    <m:r>
                      <a:rPr lang="en-US" sz="2200" i="1" dirty="0" smtClean="0">
                        <a:solidFill>
                          <a:schemeClr val="tx1">
                            <a:lumMod val="75000"/>
                            <a:lumOff val="25000"/>
                          </a:schemeClr>
                        </a:solidFill>
                        <a:latin typeface="Cambria Math"/>
                      </a:rPr>
                      <m:t>𝑝</m:t>
                    </m:r>
                  </m:oMath>
                </a14:m>
                <a:r>
                  <a:rPr lang="en-US" sz="2200" dirty="0">
                    <a:solidFill>
                      <a:schemeClr val="tx1">
                        <a:lumMod val="75000"/>
                        <a:lumOff val="25000"/>
                      </a:schemeClr>
                    </a:solidFill>
                    <a:latin typeface="+mj-lt"/>
                  </a:rPr>
                  <a:t> region</a:t>
                </a:r>
              </a:p>
            </p:txBody>
          </p:sp>
        </mc:Choice>
        <mc:Fallback xmlns="">
          <p:sp>
            <p:nvSpPr>
              <p:cNvPr id="8" name="Text Placeholder 22"/>
              <p:cNvSpPr txBox="1">
                <a:spLocks noRot="1" noChangeAspect="1" noMove="1" noResize="1" noEditPoints="1" noAdjustHandles="1" noChangeArrowheads="1" noChangeShapeType="1" noTextEdit="1"/>
              </p:cNvSpPr>
              <p:nvPr/>
            </p:nvSpPr>
            <p:spPr>
              <a:xfrm>
                <a:off x="258128" y="1417351"/>
                <a:ext cx="11589135" cy="5118939"/>
              </a:xfrm>
              <a:prstGeom prst="rect">
                <a:avLst/>
              </a:prstGeom>
              <a:blipFill rotWithShape="1">
                <a:blip r:embed="rId3"/>
                <a:stretch>
                  <a:fillRect t="-1311" r="-736"/>
                </a:stretch>
              </a:blipFill>
            </p:spPr>
            <p:txBody>
              <a:bodyPr/>
              <a:lstStyle/>
              <a:p>
                <a:r>
                  <a:rPr lang="en-US">
                    <a:noFill/>
                  </a:rPr>
                  <a:t> </a:t>
                </a:r>
              </a:p>
            </p:txBody>
          </p:sp>
        </mc:Fallback>
      </mc:AlternateContent>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descr="http://neuralnetworksanddeeplearning.com/images/tikz47.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69113" y="3658226"/>
            <a:ext cx="4922862" cy="2737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162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anim calcmode="lin" valueType="num">
                                      <p:cBhvr additive="base">
                                        <p:cTn id="25"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additive="base">
                                        <p:cTn id="31"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686"/>
        <p:cNvGrpSpPr/>
        <p:nvPr/>
      </p:nvGrpSpPr>
      <p:grpSpPr>
        <a:xfrm>
          <a:off x="0" y="0"/>
          <a:ext cx="0" cy="0"/>
          <a:chOff x="0" y="0"/>
          <a:chExt cx="0" cy="0"/>
        </a:xfrm>
      </p:grpSpPr>
      <p:graphicFrame>
        <p:nvGraphicFramePr>
          <p:cNvPr id="687" name="Shape 687"/>
          <p:cNvGraphicFramePr/>
          <p:nvPr/>
        </p:nvGraphicFramePr>
        <p:xfrm>
          <a:off x="1296164" y="1917018"/>
          <a:ext cx="3295660" cy="3295660"/>
        </p:xfrm>
        <a:graphic>
          <a:graphicData uri="http://schemas.openxmlformats.org/drawingml/2006/table">
            <a:tbl>
              <a:tblPr>
                <a:noFill/>
              </a:tblPr>
              <a:tblGrid>
                <a:gridCol w="823915">
                  <a:extLst>
                    <a:ext uri="{9D8B030D-6E8A-4147-A177-3AD203B41FA5}">
                      <a16:colId xmlns:a16="http://schemas.microsoft.com/office/drawing/2014/main" val="20000"/>
                    </a:ext>
                  </a:extLst>
                </a:gridCol>
                <a:gridCol w="823915">
                  <a:extLst>
                    <a:ext uri="{9D8B030D-6E8A-4147-A177-3AD203B41FA5}">
                      <a16:colId xmlns:a16="http://schemas.microsoft.com/office/drawing/2014/main" val="20001"/>
                    </a:ext>
                  </a:extLst>
                </a:gridCol>
                <a:gridCol w="823915">
                  <a:extLst>
                    <a:ext uri="{9D8B030D-6E8A-4147-A177-3AD203B41FA5}">
                      <a16:colId xmlns:a16="http://schemas.microsoft.com/office/drawing/2014/main" val="20002"/>
                    </a:ext>
                  </a:extLst>
                </a:gridCol>
                <a:gridCol w="823915">
                  <a:extLst>
                    <a:ext uri="{9D8B030D-6E8A-4147-A177-3AD203B41FA5}">
                      <a16:colId xmlns:a16="http://schemas.microsoft.com/office/drawing/2014/main" val="20003"/>
                    </a:ext>
                  </a:extLst>
                </a:gridCol>
              </a:tblGrid>
              <a:tr h="823915">
                <a:tc>
                  <a:txBody>
                    <a:bodyPr/>
                    <a:lstStyle/>
                    <a:p>
                      <a:pPr lvl="0" algn="ctr" rtl="0">
                        <a:spcBef>
                          <a:spcPts val="0"/>
                        </a:spcBef>
                        <a:buNone/>
                      </a:pPr>
                      <a:r>
                        <a:rPr lang="en" sz="3300"/>
                        <a:t>1</a:t>
                      </a:r>
                    </a:p>
                  </a:txBody>
                  <a:tcPr marL="124327" marR="124327" marT="124327" marB="124327">
                    <a:solidFill>
                      <a:srgbClr val="F4CCCC"/>
                    </a:solidFill>
                  </a:tcPr>
                </a:tc>
                <a:tc>
                  <a:txBody>
                    <a:bodyPr/>
                    <a:lstStyle/>
                    <a:p>
                      <a:pPr lvl="0" algn="ctr" rtl="0">
                        <a:spcBef>
                          <a:spcPts val="0"/>
                        </a:spcBef>
                        <a:buNone/>
                      </a:pPr>
                      <a:r>
                        <a:rPr lang="en" sz="3300"/>
                        <a:t>1</a:t>
                      </a:r>
                    </a:p>
                  </a:txBody>
                  <a:tcPr marL="124327" marR="124327" marT="124327" marB="124327">
                    <a:solidFill>
                      <a:srgbClr val="F4CCCC"/>
                    </a:solidFill>
                  </a:tcPr>
                </a:tc>
                <a:tc>
                  <a:txBody>
                    <a:bodyPr/>
                    <a:lstStyle/>
                    <a:p>
                      <a:pPr lvl="0" algn="ctr" rtl="0">
                        <a:spcBef>
                          <a:spcPts val="0"/>
                        </a:spcBef>
                        <a:buNone/>
                      </a:pPr>
                      <a:r>
                        <a:rPr lang="en" sz="3300"/>
                        <a:t>2</a:t>
                      </a:r>
                    </a:p>
                  </a:txBody>
                  <a:tcPr marL="124327" marR="124327" marT="124327" marB="124327">
                    <a:solidFill>
                      <a:srgbClr val="D9EAD3"/>
                    </a:solidFill>
                  </a:tcPr>
                </a:tc>
                <a:tc>
                  <a:txBody>
                    <a:bodyPr/>
                    <a:lstStyle/>
                    <a:p>
                      <a:pPr lvl="0" algn="ctr" rtl="0">
                        <a:spcBef>
                          <a:spcPts val="0"/>
                        </a:spcBef>
                        <a:buNone/>
                      </a:pPr>
                      <a:r>
                        <a:rPr lang="en" sz="3300"/>
                        <a:t>4</a:t>
                      </a:r>
                    </a:p>
                  </a:txBody>
                  <a:tcPr marL="124327" marR="124327" marT="124327" marB="124327">
                    <a:solidFill>
                      <a:srgbClr val="D9EAD3"/>
                    </a:solidFill>
                  </a:tcPr>
                </a:tc>
                <a:extLst>
                  <a:ext uri="{0D108BD9-81ED-4DB2-BD59-A6C34878D82A}">
                    <a16:rowId xmlns:a16="http://schemas.microsoft.com/office/drawing/2014/main" val="10000"/>
                  </a:ext>
                </a:extLst>
              </a:tr>
              <a:tr h="823915">
                <a:tc>
                  <a:txBody>
                    <a:bodyPr/>
                    <a:lstStyle/>
                    <a:p>
                      <a:pPr lvl="0" algn="ctr" rtl="0">
                        <a:spcBef>
                          <a:spcPts val="0"/>
                        </a:spcBef>
                        <a:buNone/>
                      </a:pPr>
                      <a:r>
                        <a:rPr lang="en" sz="3300"/>
                        <a:t>5</a:t>
                      </a:r>
                    </a:p>
                  </a:txBody>
                  <a:tcPr marL="124327" marR="124327" marT="124327" marB="124327">
                    <a:solidFill>
                      <a:srgbClr val="F4CCCC"/>
                    </a:solidFill>
                  </a:tcPr>
                </a:tc>
                <a:tc>
                  <a:txBody>
                    <a:bodyPr/>
                    <a:lstStyle/>
                    <a:p>
                      <a:pPr lvl="0" algn="ctr" rtl="0">
                        <a:spcBef>
                          <a:spcPts val="0"/>
                        </a:spcBef>
                        <a:buNone/>
                      </a:pPr>
                      <a:r>
                        <a:rPr lang="en" sz="3300"/>
                        <a:t>6</a:t>
                      </a:r>
                    </a:p>
                  </a:txBody>
                  <a:tcPr marL="124327" marR="124327" marT="124327" marB="124327">
                    <a:solidFill>
                      <a:srgbClr val="F4CCCC"/>
                    </a:solidFill>
                  </a:tcPr>
                </a:tc>
                <a:tc>
                  <a:txBody>
                    <a:bodyPr/>
                    <a:lstStyle/>
                    <a:p>
                      <a:pPr lvl="0" algn="ctr" rtl="0">
                        <a:spcBef>
                          <a:spcPts val="0"/>
                        </a:spcBef>
                        <a:buNone/>
                      </a:pPr>
                      <a:r>
                        <a:rPr lang="en" sz="3300"/>
                        <a:t>7</a:t>
                      </a:r>
                    </a:p>
                  </a:txBody>
                  <a:tcPr marL="124327" marR="124327" marT="124327" marB="124327">
                    <a:solidFill>
                      <a:srgbClr val="D9EAD3"/>
                    </a:solidFill>
                  </a:tcPr>
                </a:tc>
                <a:tc>
                  <a:txBody>
                    <a:bodyPr/>
                    <a:lstStyle/>
                    <a:p>
                      <a:pPr lvl="0" algn="ctr" rtl="0">
                        <a:spcBef>
                          <a:spcPts val="0"/>
                        </a:spcBef>
                        <a:buNone/>
                      </a:pPr>
                      <a:r>
                        <a:rPr lang="en" sz="3300"/>
                        <a:t>8</a:t>
                      </a:r>
                    </a:p>
                  </a:txBody>
                  <a:tcPr marL="124327" marR="124327" marT="124327" marB="124327">
                    <a:solidFill>
                      <a:srgbClr val="D9EAD3"/>
                    </a:solidFill>
                  </a:tcPr>
                </a:tc>
                <a:extLst>
                  <a:ext uri="{0D108BD9-81ED-4DB2-BD59-A6C34878D82A}">
                    <a16:rowId xmlns:a16="http://schemas.microsoft.com/office/drawing/2014/main" val="10001"/>
                  </a:ext>
                </a:extLst>
              </a:tr>
              <a:tr h="823915">
                <a:tc>
                  <a:txBody>
                    <a:bodyPr/>
                    <a:lstStyle/>
                    <a:p>
                      <a:pPr lvl="0" algn="ctr" rtl="0">
                        <a:spcBef>
                          <a:spcPts val="0"/>
                        </a:spcBef>
                        <a:buNone/>
                      </a:pPr>
                      <a:r>
                        <a:rPr lang="en" sz="3300"/>
                        <a:t>3</a:t>
                      </a:r>
                    </a:p>
                  </a:txBody>
                  <a:tcPr marL="124327" marR="124327" marT="124327" marB="124327">
                    <a:solidFill>
                      <a:srgbClr val="FFF2CC"/>
                    </a:solidFill>
                  </a:tcPr>
                </a:tc>
                <a:tc>
                  <a:txBody>
                    <a:bodyPr/>
                    <a:lstStyle/>
                    <a:p>
                      <a:pPr lvl="0" algn="ctr" rtl="0">
                        <a:spcBef>
                          <a:spcPts val="0"/>
                        </a:spcBef>
                        <a:buNone/>
                      </a:pPr>
                      <a:r>
                        <a:rPr lang="en" sz="3300"/>
                        <a:t>2</a:t>
                      </a:r>
                    </a:p>
                  </a:txBody>
                  <a:tcPr marL="124327" marR="124327" marT="124327" marB="124327">
                    <a:solidFill>
                      <a:srgbClr val="FFF2CC"/>
                    </a:solidFill>
                  </a:tcPr>
                </a:tc>
                <a:tc>
                  <a:txBody>
                    <a:bodyPr/>
                    <a:lstStyle/>
                    <a:p>
                      <a:pPr lvl="0" algn="ctr" rtl="0">
                        <a:spcBef>
                          <a:spcPts val="0"/>
                        </a:spcBef>
                        <a:buNone/>
                      </a:pPr>
                      <a:r>
                        <a:rPr lang="en" sz="3300"/>
                        <a:t>1</a:t>
                      </a:r>
                    </a:p>
                  </a:txBody>
                  <a:tcPr marL="124327" marR="124327" marT="124327" marB="124327">
                    <a:solidFill>
                      <a:srgbClr val="C9DAF8"/>
                    </a:solidFill>
                  </a:tcPr>
                </a:tc>
                <a:tc>
                  <a:txBody>
                    <a:bodyPr/>
                    <a:lstStyle/>
                    <a:p>
                      <a:pPr lvl="0" algn="ctr" rtl="0">
                        <a:spcBef>
                          <a:spcPts val="0"/>
                        </a:spcBef>
                        <a:buNone/>
                      </a:pPr>
                      <a:r>
                        <a:rPr lang="en" sz="3300"/>
                        <a:t>0</a:t>
                      </a:r>
                    </a:p>
                  </a:txBody>
                  <a:tcPr marL="124327" marR="124327" marT="124327" marB="124327">
                    <a:solidFill>
                      <a:srgbClr val="C9DAF8"/>
                    </a:solidFill>
                  </a:tcPr>
                </a:tc>
                <a:extLst>
                  <a:ext uri="{0D108BD9-81ED-4DB2-BD59-A6C34878D82A}">
                    <a16:rowId xmlns:a16="http://schemas.microsoft.com/office/drawing/2014/main" val="10002"/>
                  </a:ext>
                </a:extLst>
              </a:tr>
              <a:tr h="823915">
                <a:tc>
                  <a:txBody>
                    <a:bodyPr/>
                    <a:lstStyle/>
                    <a:p>
                      <a:pPr lvl="0" algn="ctr" rtl="0">
                        <a:spcBef>
                          <a:spcPts val="0"/>
                        </a:spcBef>
                        <a:buNone/>
                      </a:pPr>
                      <a:r>
                        <a:rPr lang="en" sz="3300"/>
                        <a:t>1</a:t>
                      </a:r>
                    </a:p>
                  </a:txBody>
                  <a:tcPr marL="124327" marR="124327" marT="124327" marB="124327">
                    <a:solidFill>
                      <a:srgbClr val="FFF2CC"/>
                    </a:solidFill>
                  </a:tcPr>
                </a:tc>
                <a:tc>
                  <a:txBody>
                    <a:bodyPr/>
                    <a:lstStyle/>
                    <a:p>
                      <a:pPr lvl="0" algn="ctr" rtl="0">
                        <a:spcBef>
                          <a:spcPts val="0"/>
                        </a:spcBef>
                        <a:buNone/>
                      </a:pPr>
                      <a:r>
                        <a:rPr lang="en" sz="3300"/>
                        <a:t>2</a:t>
                      </a:r>
                    </a:p>
                  </a:txBody>
                  <a:tcPr marL="124327" marR="124327" marT="124327" marB="124327">
                    <a:solidFill>
                      <a:srgbClr val="FFF2CC"/>
                    </a:solidFill>
                  </a:tcPr>
                </a:tc>
                <a:tc>
                  <a:txBody>
                    <a:bodyPr/>
                    <a:lstStyle/>
                    <a:p>
                      <a:pPr lvl="0" algn="ctr" rtl="0">
                        <a:spcBef>
                          <a:spcPts val="0"/>
                        </a:spcBef>
                        <a:buNone/>
                      </a:pPr>
                      <a:r>
                        <a:rPr lang="en" sz="3300"/>
                        <a:t>3</a:t>
                      </a:r>
                    </a:p>
                  </a:txBody>
                  <a:tcPr marL="124327" marR="124327" marT="124327" marB="124327">
                    <a:solidFill>
                      <a:srgbClr val="C9DAF8"/>
                    </a:solidFill>
                  </a:tcPr>
                </a:tc>
                <a:tc>
                  <a:txBody>
                    <a:bodyPr/>
                    <a:lstStyle/>
                    <a:p>
                      <a:pPr lvl="0" algn="ctr" rtl="0">
                        <a:spcBef>
                          <a:spcPts val="0"/>
                        </a:spcBef>
                        <a:buNone/>
                      </a:pPr>
                      <a:r>
                        <a:rPr lang="en" sz="3300"/>
                        <a:t>4</a:t>
                      </a:r>
                    </a:p>
                  </a:txBody>
                  <a:tcPr marL="124327" marR="124327" marT="124327" marB="124327">
                    <a:solidFill>
                      <a:srgbClr val="C9DAF8"/>
                    </a:solidFill>
                  </a:tcPr>
                </a:tc>
                <a:extLst>
                  <a:ext uri="{0D108BD9-81ED-4DB2-BD59-A6C34878D82A}">
                    <a16:rowId xmlns:a16="http://schemas.microsoft.com/office/drawing/2014/main" val="10003"/>
                  </a:ext>
                </a:extLst>
              </a:tr>
            </a:tbl>
          </a:graphicData>
        </a:graphic>
      </p:graphicFrame>
      <p:sp>
        <p:nvSpPr>
          <p:cNvPr id="688" name="Shape 688"/>
          <p:cNvSpPr txBox="1"/>
          <p:nvPr/>
        </p:nvSpPr>
        <p:spPr>
          <a:xfrm>
            <a:off x="1268083" y="1224059"/>
            <a:ext cx="3559069" cy="768194"/>
          </a:xfrm>
          <a:prstGeom prst="rect">
            <a:avLst/>
          </a:prstGeom>
          <a:noFill/>
          <a:ln>
            <a:noFill/>
          </a:ln>
        </p:spPr>
        <p:txBody>
          <a:bodyPr lIns="124327" tIns="124327" rIns="124327" bIns="124327" anchor="t" anchorCtr="0">
            <a:noAutofit/>
          </a:bodyPr>
          <a:lstStyle/>
          <a:p>
            <a:r>
              <a:rPr lang="en" sz="3264" dirty="0">
                <a:latin typeface="+mj-lt"/>
              </a:rPr>
              <a:t>Single depth slice</a:t>
            </a:r>
          </a:p>
        </p:txBody>
      </p:sp>
      <p:cxnSp>
        <p:nvCxnSpPr>
          <p:cNvPr id="689" name="Shape 689"/>
          <p:cNvCxnSpPr/>
          <p:nvPr/>
        </p:nvCxnSpPr>
        <p:spPr>
          <a:xfrm rot="10800000">
            <a:off x="875180" y="1957474"/>
            <a:ext cx="0" cy="3214748"/>
          </a:xfrm>
          <a:prstGeom prst="straightConnector1">
            <a:avLst/>
          </a:prstGeom>
          <a:noFill/>
          <a:ln w="19050" cap="flat" cmpd="sng">
            <a:solidFill>
              <a:srgbClr val="000000"/>
            </a:solidFill>
            <a:prstDash val="solid"/>
            <a:round/>
            <a:headEnd type="none" w="lg" len="lg"/>
            <a:tailEnd type="triangle" w="lg" len="lg"/>
          </a:ln>
        </p:spPr>
      </p:cxnSp>
      <p:sp>
        <p:nvSpPr>
          <p:cNvPr id="690" name="Shape 690"/>
          <p:cNvSpPr txBox="1"/>
          <p:nvPr/>
        </p:nvSpPr>
        <p:spPr>
          <a:xfrm>
            <a:off x="378281" y="2126609"/>
            <a:ext cx="529944" cy="636014"/>
          </a:xfrm>
          <a:prstGeom prst="rect">
            <a:avLst/>
          </a:prstGeom>
          <a:noFill/>
          <a:ln>
            <a:noFill/>
          </a:ln>
        </p:spPr>
        <p:txBody>
          <a:bodyPr lIns="124327" tIns="124327" rIns="124327" bIns="124327" anchor="t" anchorCtr="0">
            <a:noAutofit/>
          </a:bodyPr>
          <a:lstStyle/>
          <a:p>
            <a:r>
              <a:rPr lang="en" sz="3264" dirty="0">
                <a:latin typeface="+mj-lt"/>
              </a:rPr>
              <a:t>x</a:t>
            </a:r>
          </a:p>
        </p:txBody>
      </p:sp>
      <p:cxnSp>
        <p:nvCxnSpPr>
          <p:cNvPr id="691" name="Shape 691"/>
          <p:cNvCxnSpPr/>
          <p:nvPr/>
        </p:nvCxnSpPr>
        <p:spPr>
          <a:xfrm>
            <a:off x="1260128" y="5644405"/>
            <a:ext cx="3367734" cy="0"/>
          </a:xfrm>
          <a:prstGeom prst="straightConnector1">
            <a:avLst/>
          </a:prstGeom>
          <a:noFill/>
          <a:ln w="19050" cap="flat" cmpd="sng">
            <a:solidFill>
              <a:srgbClr val="000000"/>
            </a:solidFill>
            <a:prstDash val="solid"/>
            <a:round/>
            <a:headEnd type="none" w="lg" len="lg"/>
            <a:tailEnd type="triangle" w="lg" len="lg"/>
          </a:ln>
        </p:spPr>
      </p:cxnSp>
      <p:sp>
        <p:nvSpPr>
          <p:cNvPr id="692" name="Shape 692"/>
          <p:cNvSpPr txBox="1"/>
          <p:nvPr/>
        </p:nvSpPr>
        <p:spPr>
          <a:xfrm>
            <a:off x="3914980" y="5549690"/>
            <a:ext cx="529944" cy="498939"/>
          </a:xfrm>
          <a:prstGeom prst="rect">
            <a:avLst/>
          </a:prstGeom>
          <a:noFill/>
          <a:ln>
            <a:noFill/>
          </a:ln>
        </p:spPr>
        <p:txBody>
          <a:bodyPr lIns="124327" tIns="124327" rIns="124327" bIns="124327" anchor="t" anchorCtr="0">
            <a:noAutofit/>
          </a:bodyPr>
          <a:lstStyle/>
          <a:p>
            <a:r>
              <a:rPr lang="en" sz="3264" dirty="0">
                <a:latin typeface="+mj-lt"/>
              </a:rPr>
              <a:t>y</a:t>
            </a:r>
          </a:p>
        </p:txBody>
      </p:sp>
      <p:cxnSp>
        <p:nvCxnSpPr>
          <p:cNvPr id="693" name="Shape 693"/>
          <p:cNvCxnSpPr/>
          <p:nvPr/>
        </p:nvCxnSpPr>
        <p:spPr>
          <a:xfrm>
            <a:off x="5105450" y="3564848"/>
            <a:ext cx="2764357" cy="0"/>
          </a:xfrm>
          <a:prstGeom prst="straightConnector1">
            <a:avLst/>
          </a:prstGeom>
          <a:noFill/>
          <a:ln w="19050" cap="flat" cmpd="sng">
            <a:solidFill>
              <a:srgbClr val="000000"/>
            </a:solidFill>
            <a:prstDash val="solid"/>
            <a:round/>
            <a:headEnd type="none" w="lg" len="lg"/>
            <a:tailEnd type="triangle" w="lg" len="lg"/>
          </a:ln>
        </p:spPr>
      </p:cxnSp>
      <p:sp>
        <p:nvSpPr>
          <p:cNvPr id="694" name="Shape 694"/>
          <p:cNvSpPr txBox="1"/>
          <p:nvPr/>
        </p:nvSpPr>
        <p:spPr>
          <a:xfrm>
            <a:off x="4979763" y="2432173"/>
            <a:ext cx="3638622" cy="988902"/>
          </a:xfrm>
          <a:prstGeom prst="rect">
            <a:avLst/>
          </a:prstGeom>
          <a:noFill/>
          <a:ln>
            <a:noFill/>
          </a:ln>
        </p:spPr>
        <p:txBody>
          <a:bodyPr lIns="124327" tIns="124327" rIns="124327" bIns="124327" anchor="t" anchorCtr="0">
            <a:noAutofit/>
          </a:bodyPr>
          <a:lstStyle/>
          <a:p>
            <a:r>
              <a:rPr lang="en" sz="2448" dirty="0">
                <a:latin typeface="+mj-lt"/>
              </a:rPr>
              <a:t>max pool with 2x2 filters and stride 2</a:t>
            </a:r>
          </a:p>
        </p:txBody>
      </p:sp>
      <p:graphicFrame>
        <p:nvGraphicFramePr>
          <p:cNvPr id="695" name="Shape 695"/>
          <p:cNvGraphicFramePr/>
          <p:nvPr/>
        </p:nvGraphicFramePr>
        <p:xfrm>
          <a:off x="9006324" y="2687965"/>
          <a:ext cx="1647830" cy="1647830"/>
        </p:xfrm>
        <a:graphic>
          <a:graphicData uri="http://schemas.openxmlformats.org/drawingml/2006/table">
            <a:tbl>
              <a:tblPr>
                <a:noFill/>
              </a:tblPr>
              <a:tblGrid>
                <a:gridCol w="823915">
                  <a:extLst>
                    <a:ext uri="{9D8B030D-6E8A-4147-A177-3AD203B41FA5}">
                      <a16:colId xmlns:a16="http://schemas.microsoft.com/office/drawing/2014/main" val="20000"/>
                    </a:ext>
                  </a:extLst>
                </a:gridCol>
                <a:gridCol w="823915">
                  <a:extLst>
                    <a:ext uri="{9D8B030D-6E8A-4147-A177-3AD203B41FA5}">
                      <a16:colId xmlns:a16="http://schemas.microsoft.com/office/drawing/2014/main" val="20001"/>
                    </a:ext>
                  </a:extLst>
                </a:gridCol>
              </a:tblGrid>
              <a:tr h="823915">
                <a:tc>
                  <a:txBody>
                    <a:bodyPr/>
                    <a:lstStyle/>
                    <a:p>
                      <a:pPr lvl="0" algn="ctr" rtl="0">
                        <a:spcBef>
                          <a:spcPts val="0"/>
                        </a:spcBef>
                        <a:buNone/>
                      </a:pPr>
                      <a:r>
                        <a:rPr lang="en" sz="3300"/>
                        <a:t>6</a:t>
                      </a:r>
                    </a:p>
                  </a:txBody>
                  <a:tcPr marL="124327" marR="124327" marT="124327" marB="124327">
                    <a:solidFill>
                      <a:srgbClr val="F4CCCC"/>
                    </a:solidFill>
                  </a:tcPr>
                </a:tc>
                <a:tc>
                  <a:txBody>
                    <a:bodyPr/>
                    <a:lstStyle/>
                    <a:p>
                      <a:pPr lvl="0" algn="ctr" rtl="0">
                        <a:spcBef>
                          <a:spcPts val="0"/>
                        </a:spcBef>
                        <a:buNone/>
                      </a:pPr>
                      <a:r>
                        <a:rPr lang="en" sz="3300"/>
                        <a:t>8</a:t>
                      </a:r>
                    </a:p>
                  </a:txBody>
                  <a:tcPr marL="124327" marR="124327" marT="124327" marB="124327">
                    <a:solidFill>
                      <a:srgbClr val="D9EAD3"/>
                    </a:solidFill>
                  </a:tcPr>
                </a:tc>
                <a:extLst>
                  <a:ext uri="{0D108BD9-81ED-4DB2-BD59-A6C34878D82A}">
                    <a16:rowId xmlns:a16="http://schemas.microsoft.com/office/drawing/2014/main" val="10000"/>
                  </a:ext>
                </a:extLst>
              </a:tr>
              <a:tr h="823915">
                <a:tc>
                  <a:txBody>
                    <a:bodyPr/>
                    <a:lstStyle/>
                    <a:p>
                      <a:pPr lvl="0" algn="ctr" rtl="0">
                        <a:spcBef>
                          <a:spcPts val="0"/>
                        </a:spcBef>
                        <a:buNone/>
                      </a:pPr>
                      <a:r>
                        <a:rPr lang="en" sz="3300"/>
                        <a:t>3</a:t>
                      </a:r>
                    </a:p>
                  </a:txBody>
                  <a:tcPr marL="124327" marR="124327" marT="124327" marB="124327">
                    <a:solidFill>
                      <a:srgbClr val="FFF2CC"/>
                    </a:solidFill>
                  </a:tcPr>
                </a:tc>
                <a:tc>
                  <a:txBody>
                    <a:bodyPr/>
                    <a:lstStyle/>
                    <a:p>
                      <a:pPr lvl="0" algn="ctr" rtl="0">
                        <a:spcBef>
                          <a:spcPts val="0"/>
                        </a:spcBef>
                        <a:buNone/>
                      </a:pPr>
                      <a:r>
                        <a:rPr lang="en" sz="3300"/>
                        <a:t>4</a:t>
                      </a:r>
                    </a:p>
                  </a:txBody>
                  <a:tcPr marL="124327" marR="124327" marT="124327" marB="124327">
                    <a:solidFill>
                      <a:srgbClr val="C9DAF8"/>
                    </a:solidFill>
                  </a:tcPr>
                </a:tc>
                <a:extLst>
                  <a:ext uri="{0D108BD9-81ED-4DB2-BD59-A6C34878D82A}">
                    <a16:rowId xmlns:a16="http://schemas.microsoft.com/office/drawing/2014/main" val="10001"/>
                  </a:ext>
                </a:extLst>
              </a:tr>
            </a:tbl>
          </a:graphicData>
        </a:graphic>
      </p:graphicFrame>
      <p:sp>
        <p:nvSpPr>
          <p:cNvPr id="14"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Max Pooling</a:t>
            </a:r>
          </a:p>
          <a:p>
            <a:pPr algn="just"/>
            <a:endParaRPr lang="en-US" sz="4400" b="1" dirty="0"/>
          </a:p>
          <a:p>
            <a:pPr algn="just"/>
            <a:endParaRPr lang="en-US" sz="4400" b="1" dirty="0"/>
          </a:p>
          <a:p>
            <a:pPr algn="just"/>
            <a:endParaRPr lang="en-US" sz="4400" b="1" dirty="0"/>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1519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319635"/>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itle 2"/>
          <p:cNvSpPr txBox="1">
            <a:spLocks/>
          </p:cNvSpPr>
          <p:nvPr/>
        </p:nvSpPr>
        <p:spPr>
          <a:xfrm>
            <a:off x="673035" y="36993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Compositional Data</a:t>
            </a:r>
          </a:p>
          <a:p>
            <a:pPr algn="just"/>
            <a:endParaRPr lang="en-US" sz="4400" b="1" dirty="0"/>
          </a:p>
        </p:txBody>
      </p:sp>
      <p:sp>
        <p:nvSpPr>
          <p:cNvPr id="7" name="Text Placeholder 22">
            <a:extLst>
              <a:ext uri="{FF2B5EF4-FFF2-40B4-BE49-F238E27FC236}">
                <a16:creationId xmlns:a16="http://schemas.microsoft.com/office/drawing/2014/main" id="{D3BFF6C7-772E-415A-9729-5EAA2AE928CB}"/>
              </a:ext>
            </a:extLst>
          </p:cNvPr>
          <p:cNvSpPr txBox="1">
            <a:spLocks/>
          </p:cNvSpPr>
          <p:nvPr/>
        </p:nvSpPr>
        <p:spPr>
          <a:xfrm>
            <a:off x="384738" y="1291356"/>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0" algn="just">
              <a:buNone/>
            </a:pPr>
            <a:r>
              <a:rPr lang="en-US" sz="2800" dirty="0">
                <a:solidFill>
                  <a:schemeClr val="tx1">
                    <a:lumMod val="75000"/>
                    <a:lumOff val="25000"/>
                  </a:schemeClr>
                </a:solidFill>
                <a:latin typeface="+mj-lt"/>
              </a:rPr>
              <a:t>Natural Data is Compositional</a:t>
            </a:r>
          </a:p>
          <a:p>
            <a:pPr lvl="1" algn="just"/>
            <a:r>
              <a:rPr lang="en-US" sz="2800" dirty="0">
                <a:solidFill>
                  <a:schemeClr val="tx1">
                    <a:lumMod val="75000"/>
                    <a:lumOff val="25000"/>
                  </a:schemeClr>
                </a:solidFill>
                <a:latin typeface="+mj-lt"/>
              </a:rPr>
              <a:t>A combination of simple forms and complex forms</a:t>
            </a:r>
          </a:p>
          <a:p>
            <a:pPr lvl="1" algn="just"/>
            <a:r>
              <a:rPr lang="en-US" sz="2800" dirty="0">
                <a:solidFill>
                  <a:schemeClr val="tx1">
                    <a:lumMod val="75000"/>
                    <a:lumOff val="25000"/>
                  </a:schemeClr>
                </a:solidFill>
                <a:latin typeface="+mj-lt"/>
              </a:rPr>
              <a:t>For example, a face is composed of two eyes, a nose and a mouth</a:t>
            </a:r>
          </a:p>
        </p:txBody>
      </p:sp>
      <p:pic>
        <p:nvPicPr>
          <p:cNvPr id="8" name="Picture 14">
            <a:extLst>
              <a:ext uri="{FF2B5EF4-FFF2-40B4-BE49-F238E27FC236}">
                <a16:creationId xmlns:a16="http://schemas.microsoft.com/office/drawing/2014/main" id="{E994EF15-0418-4E35-AD27-769173A827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035" y="3026998"/>
            <a:ext cx="11157894" cy="3292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985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pic>
        <p:nvPicPr>
          <p:cNvPr id="681" name="Shape 681"/>
          <p:cNvPicPr preferRelativeResize="0"/>
          <p:nvPr/>
        </p:nvPicPr>
        <p:blipFill>
          <a:blip r:embed="rId3">
            <a:alphaModFix/>
          </a:blip>
          <a:stretch>
            <a:fillRect/>
          </a:stretch>
        </p:blipFill>
        <p:spPr>
          <a:xfrm>
            <a:off x="3209155" y="2615557"/>
            <a:ext cx="5828183" cy="4139817"/>
          </a:xfrm>
          <a:prstGeom prst="rect">
            <a:avLst/>
          </a:prstGeom>
          <a:noFill/>
          <a:ln>
            <a:noFill/>
          </a:ln>
        </p:spPr>
      </p:pic>
      <p:sp>
        <p:nvSpPr>
          <p:cNvPr id="682" name="Shape 682"/>
          <p:cNvSpPr txBox="1"/>
          <p:nvPr/>
        </p:nvSpPr>
        <p:spPr>
          <a:xfrm>
            <a:off x="391681" y="1453435"/>
            <a:ext cx="11463132" cy="961408"/>
          </a:xfrm>
          <a:prstGeom prst="rect">
            <a:avLst/>
          </a:prstGeom>
          <a:noFill/>
          <a:ln>
            <a:noFill/>
          </a:ln>
        </p:spPr>
        <p:txBody>
          <a:bodyPr lIns="124327" tIns="124327" rIns="124327" bIns="124327" anchor="t" anchorCtr="0">
            <a:noAutofit/>
          </a:bodyPr>
          <a:lstStyle/>
          <a:p>
            <a:pPr marL="498329" indent="-342900">
              <a:buSzPct val="100000"/>
              <a:buFont typeface="Arial" panose="020B0604020202020204" pitchFamily="34" charset="0"/>
              <a:buChar char="•"/>
            </a:pPr>
            <a:r>
              <a:rPr lang="en-US" sz="2448" dirty="0">
                <a:solidFill>
                  <a:srgbClr val="000000"/>
                </a:solidFill>
                <a:latin typeface="+mj-lt"/>
              </a:rPr>
              <a:t>S</a:t>
            </a:r>
            <a:r>
              <a:rPr lang="en" sz="2448" dirty="0">
                <a:solidFill>
                  <a:srgbClr val="000000"/>
                </a:solidFill>
                <a:latin typeface="+mj-lt"/>
              </a:rPr>
              <a:t>maller </a:t>
            </a:r>
            <a:r>
              <a:rPr lang="en-US" sz="2448" dirty="0">
                <a:solidFill>
                  <a:srgbClr val="000000"/>
                </a:solidFill>
                <a:latin typeface="+mj-lt"/>
              </a:rPr>
              <a:t>representations </a:t>
            </a:r>
            <a:r>
              <a:rPr lang="en" sz="2448" dirty="0">
                <a:solidFill>
                  <a:srgbClr val="000000"/>
                </a:solidFill>
                <a:latin typeface="+mj-lt"/>
              </a:rPr>
              <a:t>and more manageable </a:t>
            </a:r>
          </a:p>
          <a:p>
            <a:pPr marL="498329" indent="-342900">
              <a:buSzPct val="100000"/>
              <a:buFont typeface="Arial" panose="020B0604020202020204" pitchFamily="34" charset="0"/>
              <a:buChar char="•"/>
            </a:pPr>
            <a:r>
              <a:rPr lang="en" sz="2448" dirty="0">
                <a:latin typeface="+mj-lt"/>
              </a:rPr>
              <a:t>Operates over each activation map independently</a:t>
            </a:r>
          </a:p>
          <a:p>
            <a:endParaRPr sz="2448" dirty="0"/>
          </a:p>
        </p:txBody>
      </p:sp>
      <p:sp>
        <p:nvSpPr>
          <p:cNvPr id="6"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Pooling Layers</a:t>
            </a:r>
          </a:p>
          <a:p>
            <a:pPr algn="just"/>
            <a:endParaRPr lang="en-US" sz="4400" b="1" dirty="0"/>
          </a:p>
          <a:p>
            <a:pPr algn="just"/>
            <a:endParaRPr lang="en-US" sz="4400" b="1" dirty="0"/>
          </a:p>
          <a:p>
            <a:pPr algn="just"/>
            <a:endParaRPr lang="en-US" sz="4400" b="1" dirty="0"/>
          </a:p>
          <a:p>
            <a:pPr algn="just"/>
            <a:endParaRPr lang="en-US" sz="4400" b="1" dirty="0"/>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9024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Pooling Layers</a:t>
            </a:r>
          </a:p>
          <a:p>
            <a:pPr algn="just"/>
            <a:endParaRPr lang="en-US" sz="4400" b="1" dirty="0"/>
          </a:p>
          <a:p>
            <a:pPr algn="just"/>
            <a:endParaRPr lang="en-US" sz="4400" b="1" dirty="0"/>
          </a:p>
          <a:p>
            <a:pPr algn="just"/>
            <a:endParaRPr lang="en-US" sz="4400" b="1" dirty="0"/>
          </a:p>
        </p:txBody>
      </p:sp>
      <p:sp>
        <p:nvSpPr>
          <p:cNvPr id="8" name="Text Placeholder 22"/>
          <p:cNvSpPr txBox="1">
            <a:spLocks/>
          </p:cNvSpPr>
          <p:nvPr/>
        </p:nvSpPr>
        <p:spPr>
          <a:xfrm>
            <a:off x="328469" y="1336684"/>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0" algn="just">
              <a:buNone/>
            </a:pPr>
            <a:r>
              <a:rPr lang="en-US" sz="3200" dirty="0">
                <a:solidFill>
                  <a:schemeClr val="tx1">
                    <a:lumMod val="75000"/>
                    <a:lumOff val="25000"/>
                  </a:schemeClr>
                </a:solidFill>
                <a:latin typeface="+mj-lt"/>
              </a:rPr>
              <a:t>Combined convolutional and max-pooling layers:</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2869" y="2672863"/>
            <a:ext cx="7958746" cy="291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5347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Shared Weights And Biases</a:t>
            </a:r>
          </a:p>
        </p:txBody>
      </p:sp>
      <mc:AlternateContent xmlns:mc="http://schemas.openxmlformats.org/markup-compatibility/2006" xmlns:a14="http://schemas.microsoft.com/office/drawing/2010/main">
        <mc:Choice Requires="a14">
          <p:sp>
            <p:nvSpPr>
              <p:cNvPr id="8" name="Text Placeholder 22"/>
              <p:cNvSpPr txBox="1">
                <a:spLocks/>
              </p:cNvSpPr>
              <p:nvPr/>
            </p:nvSpPr>
            <p:spPr>
              <a:xfrm>
                <a:off x="250930" y="1426129"/>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00100" lvl="1" indent="-457200" algn="just">
                  <a:buFont typeface="+mj-lt"/>
                  <a:buAutoNum type="arabicPeriod"/>
                </a:pPr>
                <a:r>
                  <a:rPr lang="en-US" dirty="0">
                    <a:solidFill>
                      <a:schemeClr val="tx1">
                        <a:lumMod val="75000"/>
                        <a:lumOff val="25000"/>
                      </a:schemeClr>
                    </a:solidFill>
                    <a:latin typeface="+mj-lt"/>
                  </a:rPr>
                  <a:t>Each hidden neuron has a bias and pxp weights connected to its local receptive field</a:t>
                </a:r>
              </a:p>
              <a:p>
                <a:pPr marL="800100" lvl="1" indent="-457200" algn="just">
                  <a:buFont typeface="+mj-lt"/>
                  <a:buAutoNum type="arabicPeriod"/>
                </a:pPr>
                <a:r>
                  <a:rPr lang="en-US" dirty="0">
                    <a:solidFill>
                      <a:schemeClr val="tx1">
                        <a:lumMod val="75000"/>
                        <a:lumOff val="25000"/>
                      </a:schemeClr>
                    </a:solidFill>
                    <a:latin typeface="+mj-lt"/>
                  </a:rPr>
                  <a:t>The same weights and bias for each of the hidden neurons</a:t>
                </a:r>
              </a:p>
              <a:p>
                <a:pPr marL="800100" lvl="1" indent="-457200" algn="just">
                  <a:buFont typeface="+mj-lt"/>
                  <a:buAutoNum type="arabicPeriod"/>
                </a:pPr>
                <a:r>
                  <a:rPr lang="en-US" dirty="0">
                    <a:solidFill>
                      <a:schemeClr val="tx1">
                        <a:lumMod val="75000"/>
                        <a:lumOff val="25000"/>
                      </a:schemeClr>
                    </a:solidFill>
                    <a:latin typeface="+mj-lt"/>
                  </a:rPr>
                  <a:t>In other words, for the </a:t>
                </a:r>
                <a14:m>
                  <m:oMath xmlns:m="http://schemas.openxmlformats.org/officeDocument/2006/math">
                    <m:sSup>
                      <m:sSupPr>
                        <m:ctrlPr>
                          <a:rPr lang="en-US" i="1" smtClean="0">
                            <a:solidFill>
                              <a:schemeClr val="tx1">
                                <a:lumMod val="75000"/>
                                <a:lumOff val="25000"/>
                              </a:schemeClr>
                            </a:solidFill>
                            <a:latin typeface="Cambria Math" panose="02040503050406030204" pitchFamily="18" charset="0"/>
                          </a:rPr>
                        </m:ctrlPr>
                      </m:sSupPr>
                      <m:e>
                        <m:r>
                          <a:rPr lang="en-US" b="0" i="1" smtClean="0">
                            <a:solidFill>
                              <a:schemeClr val="tx1">
                                <a:lumMod val="75000"/>
                                <a:lumOff val="25000"/>
                              </a:schemeClr>
                            </a:solidFill>
                            <a:latin typeface="Cambria Math"/>
                          </a:rPr>
                          <m:t>𝑗</m:t>
                        </m:r>
                        <m:r>
                          <a:rPr lang="en-US" b="0" i="1" smtClean="0">
                            <a:solidFill>
                              <a:schemeClr val="tx1">
                                <a:lumMod val="75000"/>
                                <a:lumOff val="25000"/>
                              </a:schemeClr>
                            </a:solidFill>
                            <a:latin typeface="Cambria Math"/>
                          </a:rPr>
                          <m:t>,  </m:t>
                        </m:r>
                        <m:r>
                          <a:rPr lang="en-US" b="0" i="1" smtClean="0">
                            <a:solidFill>
                              <a:schemeClr val="tx1">
                                <a:lumMod val="75000"/>
                                <a:lumOff val="25000"/>
                              </a:schemeClr>
                            </a:solidFill>
                            <a:latin typeface="Cambria Math"/>
                          </a:rPr>
                          <m:t>𝑘</m:t>
                        </m:r>
                      </m:e>
                      <m:sup>
                        <m:r>
                          <a:rPr lang="en-US" b="0" i="1" smtClean="0">
                            <a:solidFill>
                              <a:schemeClr val="tx1">
                                <a:lumMod val="75000"/>
                                <a:lumOff val="25000"/>
                              </a:schemeClr>
                            </a:solidFill>
                            <a:latin typeface="Cambria Math"/>
                          </a:rPr>
                          <m:t>𝑡h</m:t>
                        </m:r>
                      </m:sup>
                    </m:sSup>
                  </m:oMath>
                </a14:m>
                <a:r>
                  <a:rPr lang="en-US" dirty="0">
                    <a:solidFill>
                      <a:schemeClr val="tx1">
                        <a:lumMod val="75000"/>
                        <a:lumOff val="25000"/>
                      </a:schemeClr>
                    </a:solidFill>
                    <a:latin typeface="+mj-lt"/>
                  </a:rPr>
                  <a:t> hidden neuron, the output is:</a:t>
                </a:r>
              </a:p>
            </p:txBody>
          </p:sp>
        </mc:Choice>
        <mc:Fallback xmlns="">
          <p:sp>
            <p:nvSpPr>
              <p:cNvPr id="8" name="Text Placeholder 22"/>
              <p:cNvSpPr txBox="1">
                <a:spLocks noRot="1" noChangeAspect="1" noMove="1" noResize="1" noEditPoints="1" noAdjustHandles="1" noChangeArrowheads="1" noChangeShapeType="1" noTextEdit="1"/>
              </p:cNvSpPr>
              <p:nvPr/>
            </p:nvSpPr>
            <p:spPr>
              <a:xfrm>
                <a:off x="250930" y="1426129"/>
                <a:ext cx="11589135" cy="5118939"/>
              </a:xfrm>
              <a:prstGeom prst="rect">
                <a:avLst/>
              </a:prstGeom>
              <a:blipFill rotWithShape="1">
                <a:blip r:embed="rId3"/>
                <a:stretch>
                  <a:fillRect t="-1667" r="-842"/>
                </a:stretch>
              </a:blipFill>
            </p:spPr>
            <p:txBody>
              <a:bodyPr/>
              <a:lstStyle/>
              <a:p>
                <a:r>
                  <a:rPr lang="en-US">
                    <a:noFill/>
                  </a:rPr>
                  <a:t> </a:t>
                </a:r>
              </a:p>
            </p:txBody>
          </p:sp>
        </mc:Fallback>
      </mc:AlternateContent>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7" name="Rectangle 6"/>
              <p:cNvSpPr/>
              <p:nvPr/>
            </p:nvSpPr>
            <p:spPr>
              <a:xfrm>
                <a:off x="1312037" y="4298300"/>
                <a:ext cx="9213700" cy="1668790"/>
              </a:xfrm>
              <a:prstGeom prst="rect">
                <a:avLst/>
              </a:prstGeom>
            </p:spPr>
            <p:txBody>
              <a:bodyPr wrap="square">
                <a:spAutoFit/>
              </a:bodyPr>
              <a:lstStyle/>
              <a:p>
                <a:br>
                  <a:rPr lang="en-US" sz="2000" dirty="0">
                    <a:latin typeface="+mj-lt"/>
                  </a:rPr>
                </a:br>
                <a:r>
                  <a:rPr lang="en-US" sz="2000" dirty="0">
                    <a:solidFill>
                      <a:schemeClr val="tx1"/>
                    </a:solidFill>
                    <a:latin typeface="+mj-lt"/>
                  </a:rPr>
                  <a:t>where </a:t>
                </a:r>
                <a14:m>
                  <m:oMath xmlns:m="http://schemas.openxmlformats.org/officeDocument/2006/math">
                    <m:r>
                      <a:rPr lang="en-US" sz="2000" i="1" smtClean="0">
                        <a:solidFill>
                          <a:schemeClr val="tx1"/>
                        </a:solidFill>
                        <a:latin typeface="Cambria Math"/>
                        <a:ea typeface="Cambria Math"/>
                      </a:rPr>
                      <m:t>𝜎</m:t>
                    </m:r>
                    <m:r>
                      <a:rPr lang="en-US" sz="2000" b="0" i="1" smtClean="0">
                        <a:solidFill>
                          <a:schemeClr val="tx1"/>
                        </a:solidFill>
                        <a:latin typeface="Cambria Math"/>
                        <a:ea typeface="Cambria Math"/>
                      </a:rPr>
                      <m:t> </m:t>
                    </m:r>
                  </m:oMath>
                </a14:m>
                <a:r>
                  <a:rPr lang="en-US" sz="2000" dirty="0">
                    <a:solidFill>
                      <a:schemeClr val="tx1"/>
                    </a:solidFill>
                    <a:latin typeface="+mj-lt"/>
                  </a:rPr>
                  <a:t>is the neural activation function - perhaps the </a:t>
                </a:r>
                <a:r>
                  <a:rPr lang="en-US" sz="2000" dirty="0">
                    <a:latin typeface="+mj-lt"/>
                  </a:rPr>
                  <a:t>sigmoid function</a:t>
                </a:r>
              </a:p>
              <a:p>
                <a14:m>
                  <m:oMath xmlns:m="http://schemas.openxmlformats.org/officeDocument/2006/math">
                    <m:r>
                      <a:rPr lang="en-US" sz="2000" b="0" i="1" smtClean="0">
                        <a:latin typeface="Cambria Math"/>
                      </a:rPr>
                      <m:t>𝑏</m:t>
                    </m:r>
                    <m:r>
                      <a:rPr lang="en-US" sz="2000" b="0" i="1" smtClean="0">
                        <a:latin typeface="Cambria Math"/>
                      </a:rPr>
                      <m:t> </m:t>
                    </m:r>
                  </m:oMath>
                </a14:m>
                <a:r>
                  <a:rPr lang="en-US" sz="2000" dirty="0">
                    <a:latin typeface="+mj-lt"/>
                  </a:rPr>
                  <a:t>is the shared value for the bias</a:t>
                </a:r>
              </a:p>
              <a:p>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a:rPr>
                          <m:t>𝑤</m:t>
                        </m:r>
                      </m:e>
                      <m:sub>
                        <m:r>
                          <a:rPr lang="en-US" sz="2000" b="0" i="1" smtClean="0">
                            <a:latin typeface="Cambria Math"/>
                          </a:rPr>
                          <m:t>𝑙</m:t>
                        </m:r>
                        <m:r>
                          <a:rPr lang="en-US" sz="2000" b="0" i="1" smtClean="0">
                            <a:latin typeface="Cambria Math"/>
                          </a:rPr>
                          <m:t>,</m:t>
                        </m:r>
                        <m:r>
                          <a:rPr lang="en-US" sz="2000" b="0" i="1" smtClean="0">
                            <a:latin typeface="Cambria Math"/>
                          </a:rPr>
                          <m:t>𝑚</m:t>
                        </m:r>
                      </m:sub>
                    </m:sSub>
                    <m:r>
                      <a:rPr lang="en-US" sz="2000" b="0" i="0" smtClean="0">
                        <a:latin typeface="Cambria Math"/>
                      </a:rPr>
                      <m:t> </m:t>
                    </m:r>
                  </m:oMath>
                </a14:m>
                <a:r>
                  <a:rPr lang="en-US" sz="2000" dirty="0">
                    <a:latin typeface="+mj-lt"/>
                  </a:rPr>
                  <a:t>is a </a:t>
                </a:r>
                <a14:m>
                  <m:oMath xmlns:m="http://schemas.openxmlformats.org/officeDocument/2006/math">
                    <m:r>
                      <a:rPr lang="en-US" sz="2000" i="1" dirty="0" smtClean="0">
                        <a:latin typeface="Cambria Math"/>
                      </a:rPr>
                      <m:t>𝑛</m:t>
                    </m:r>
                    <m:r>
                      <a:rPr lang="en-US" sz="2000" i="1" dirty="0" smtClean="0">
                        <a:latin typeface="Cambria Math"/>
                      </a:rPr>
                      <m:t>×</m:t>
                    </m:r>
                    <m:r>
                      <a:rPr lang="en-US" sz="2000" i="1" dirty="0" smtClean="0">
                        <a:latin typeface="Cambria Math"/>
                      </a:rPr>
                      <m:t>𝑛</m:t>
                    </m:r>
                    <m:r>
                      <a:rPr lang="en-US" sz="2000" i="1" dirty="0" smtClean="0">
                        <a:latin typeface="Cambria Math"/>
                      </a:rPr>
                      <m:t> </m:t>
                    </m:r>
                  </m:oMath>
                </a14:m>
                <a:r>
                  <a:rPr lang="en-US" sz="2000" dirty="0">
                    <a:latin typeface="+mj-lt"/>
                  </a:rPr>
                  <a:t>array of shared weights</a:t>
                </a:r>
                <a:br>
                  <a:rPr lang="en-US" sz="2000" dirty="0">
                    <a:latin typeface="+mj-lt"/>
                  </a:rPr>
                </a:br>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a:rPr>
                          <m:t>𝑎</m:t>
                        </m:r>
                      </m:e>
                      <m:sub>
                        <m:r>
                          <a:rPr lang="en-US" sz="2000" b="0" i="1" smtClean="0">
                            <a:latin typeface="Cambria Math"/>
                          </a:rPr>
                          <m:t>𝑥</m:t>
                        </m:r>
                        <m:r>
                          <a:rPr lang="en-US" sz="2000" b="0" i="1" smtClean="0">
                            <a:latin typeface="Cambria Math"/>
                          </a:rPr>
                          <m:t>,</m:t>
                        </m:r>
                        <m:r>
                          <a:rPr lang="en-US" sz="2000" b="0" i="1" smtClean="0">
                            <a:latin typeface="Cambria Math"/>
                          </a:rPr>
                          <m:t>𝑦</m:t>
                        </m:r>
                      </m:sub>
                    </m:sSub>
                  </m:oMath>
                </a14:m>
                <a:r>
                  <a:rPr lang="en-US" sz="2000" dirty="0">
                    <a:latin typeface="+mj-lt"/>
                  </a:rPr>
                  <a:t>to denote the input activation at position </a:t>
                </a:r>
                <a14:m>
                  <m:oMath xmlns:m="http://schemas.openxmlformats.org/officeDocument/2006/math">
                    <m:r>
                      <a:rPr lang="en-US" sz="2000" b="0" i="1" dirty="0" smtClean="0">
                        <a:latin typeface="Cambria Math"/>
                      </a:rPr>
                      <m:t>𝑥</m:t>
                    </m:r>
                    <m:r>
                      <a:rPr lang="en-US" sz="2000" b="0" i="1" dirty="0" smtClean="0">
                        <a:latin typeface="Cambria Math"/>
                      </a:rPr>
                      <m:t>, </m:t>
                    </m:r>
                    <m:r>
                      <a:rPr lang="en-US" sz="2000" b="0" i="1" dirty="0" smtClean="0">
                        <a:latin typeface="Cambria Math"/>
                      </a:rPr>
                      <m:t>𝑦</m:t>
                    </m:r>
                  </m:oMath>
                </a14:m>
                <a:endParaRPr lang="en-US" sz="2000" dirty="0">
                  <a:latin typeface="+mj-lt"/>
                </a:endParaRPr>
              </a:p>
            </p:txBody>
          </p:sp>
        </mc:Choice>
        <mc:Fallback xmlns="">
          <p:sp>
            <p:nvSpPr>
              <p:cNvPr id="7" name="Rectangle 6"/>
              <p:cNvSpPr>
                <a:spLocks noRot="1" noChangeAspect="1" noMove="1" noResize="1" noEditPoints="1" noAdjustHandles="1" noChangeArrowheads="1" noChangeShapeType="1" noTextEdit="1"/>
              </p:cNvSpPr>
              <p:nvPr/>
            </p:nvSpPr>
            <p:spPr>
              <a:xfrm>
                <a:off x="1312037" y="4298300"/>
                <a:ext cx="9213700" cy="1668790"/>
              </a:xfrm>
              <a:prstGeom prst="rect">
                <a:avLst/>
              </a:prstGeom>
              <a:blipFill rotWithShape="1">
                <a:blip r:embed="rId5"/>
                <a:stretch>
                  <a:fillRect l="-661" b="-40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p:cNvSpPr txBox="1"/>
              <p:nvPr/>
            </p:nvSpPr>
            <p:spPr>
              <a:xfrm>
                <a:off x="3362178" y="3094891"/>
                <a:ext cx="5641145" cy="1612493"/>
              </a:xfrm>
              <a:prstGeom prst="rect">
                <a:avLst/>
              </a:prstGeom>
              <a:noFill/>
            </p:spPr>
            <p:txBody>
              <a:bodyPr wrap="square" lIns="182880" tIns="146304" rIns="182880" bIns="146304" rtlCol="0">
                <a:spAutoFit/>
              </a:bodyPr>
              <a:lstStyle/>
              <a:p>
                <a:pPr>
                  <a:lnSpc>
                    <a:spcPct val="90000"/>
                  </a:lnSpc>
                  <a:spcAft>
                    <a:spcPts val="600"/>
                  </a:spcAft>
                </a:pPr>
                <a14:m>
                  <m:oMathPara xmlns:m="http://schemas.openxmlformats.org/officeDocument/2006/math">
                    <m:oMathParaPr>
                      <m:jc m:val="centerGroup"/>
                    </m:oMathParaPr>
                    <m:oMath xmlns:m="http://schemas.openxmlformats.org/officeDocument/2006/math">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𝜎</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𝑏</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m:t>
                      </m:r>
                      <m:nary>
                        <m:naryPr>
                          <m:chr m:val="∑"/>
                          <m:ctrlPr>
                            <a:rPr lang="en-US" sz="2400" i="1" smtClean="0">
                              <a:gradFill>
                                <a:gsLst>
                                  <a:gs pos="2917">
                                    <a:schemeClr val="tx1"/>
                                  </a:gs>
                                  <a:gs pos="30000">
                                    <a:schemeClr val="tx1"/>
                                  </a:gs>
                                </a:gsLst>
                                <a:lin ang="5400000" scaled="0"/>
                              </a:gradFill>
                              <a:latin typeface="Cambria Math" panose="02040503050406030204" pitchFamily="18" charset="0"/>
                              <a:ea typeface="Cambria Math"/>
                            </a:rPr>
                          </m:ctrlPr>
                        </m:naryPr>
                        <m:sub>
                          <m:r>
                            <m:rPr>
                              <m:brk m:alnAt="23"/>
                            </m:rPr>
                            <a:rPr lang="en-US" sz="2400" b="0" i="1" smtClean="0">
                              <a:gradFill>
                                <a:gsLst>
                                  <a:gs pos="2917">
                                    <a:schemeClr val="tx1"/>
                                  </a:gs>
                                  <a:gs pos="30000">
                                    <a:schemeClr val="tx1"/>
                                  </a:gs>
                                </a:gsLst>
                                <a:lin ang="5400000" scaled="0"/>
                              </a:gradFill>
                              <a:latin typeface="Cambria Math" panose="02040503050406030204" pitchFamily="18" charset="0"/>
                              <a:ea typeface="Cambria Math"/>
                            </a:rPr>
                            <m:t>𝑙</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0</m:t>
                          </m:r>
                        </m:sub>
                        <m:sup>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𝑛</m:t>
                          </m:r>
                        </m:sup>
                        <m:e>
                          <m:nary>
                            <m:naryPr>
                              <m:chr m:val="∑"/>
                              <m:ctrlPr>
                                <a:rPr lang="en-US" sz="2400" i="1" smtClean="0">
                                  <a:gradFill>
                                    <a:gsLst>
                                      <a:gs pos="2917">
                                        <a:schemeClr val="tx1"/>
                                      </a:gs>
                                      <a:gs pos="30000">
                                        <a:schemeClr val="tx1"/>
                                      </a:gs>
                                    </a:gsLst>
                                    <a:lin ang="5400000" scaled="0"/>
                                  </a:gradFill>
                                  <a:latin typeface="Cambria Math" panose="02040503050406030204" pitchFamily="18" charset="0"/>
                                  <a:ea typeface="Cambria Math"/>
                                </a:rPr>
                              </m:ctrlPr>
                            </m:naryPr>
                            <m:sub>
                              <m:r>
                                <m:rPr>
                                  <m:brk m:alnAt="23"/>
                                </m:rPr>
                                <a:rPr lang="en-US" sz="2400" b="0" i="1" smtClean="0">
                                  <a:gradFill>
                                    <a:gsLst>
                                      <a:gs pos="2917">
                                        <a:schemeClr val="tx1"/>
                                      </a:gs>
                                      <a:gs pos="30000">
                                        <a:schemeClr val="tx1"/>
                                      </a:gs>
                                    </a:gsLst>
                                    <a:lin ang="5400000" scaled="0"/>
                                  </a:gradFill>
                                  <a:latin typeface="Cambria Math" panose="02040503050406030204" pitchFamily="18" charset="0"/>
                                  <a:ea typeface="Cambria Math"/>
                                </a:rPr>
                                <m:t>𝑚</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0</m:t>
                              </m:r>
                            </m:sub>
                            <m:sup>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𝑛</m:t>
                              </m:r>
                            </m:sup>
                            <m:e>
                              <m:r>
                                <a:rPr lang="en-US" sz="2400" b="0" i="1" smtClean="0">
                                  <a:gradFill>
                                    <a:gsLst>
                                      <a:gs pos="2917">
                                        <a:schemeClr val="tx1"/>
                                      </a:gs>
                                      <a:gs pos="30000">
                                        <a:schemeClr val="tx1"/>
                                      </a:gs>
                                    </a:gsLst>
                                    <a:lin ang="5400000" scaled="0"/>
                                  </a:gradFill>
                                  <a:latin typeface="Cambria Math" panose="02040503050406030204" pitchFamily="18" charset="0"/>
                                  <a:ea typeface="Cambria Math"/>
                                </a:rPr>
                                <m:t>    </m:t>
                              </m:r>
                              <m:sSub>
                                <m:sSubPr>
                                  <m:ctrlPr>
                                    <a:rPr lang="en-US" sz="2400" i="1" smtClean="0">
                                      <a:gradFill>
                                        <a:gsLst>
                                          <a:gs pos="2917">
                                            <a:schemeClr val="tx1"/>
                                          </a:gs>
                                          <a:gs pos="30000">
                                            <a:schemeClr val="tx1"/>
                                          </a:gs>
                                        </a:gsLst>
                                        <a:lin ang="5400000" scaled="0"/>
                                      </a:gradFill>
                                      <a:latin typeface="Cambria Math" panose="02040503050406030204" pitchFamily="18" charset="0"/>
                                      <a:ea typeface="Cambria Math"/>
                                    </a:rPr>
                                  </m:ctrlPr>
                                </m:sSubPr>
                                <m:e>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𝑤</m:t>
                                  </m:r>
                                </m:e>
                                <m:sub>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𝑙</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𝑚</m:t>
                                  </m:r>
                                </m:sub>
                              </m:sSub>
                              <m:sSub>
                                <m:sSubPr>
                                  <m:ctrlPr>
                                    <a:rPr lang="en-US" sz="2400" i="1" smtClean="0">
                                      <a:gradFill>
                                        <a:gsLst>
                                          <a:gs pos="2917">
                                            <a:schemeClr val="tx1"/>
                                          </a:gs>
                                          <a:gs pos="30000">
                                            <a:schemeClr val="tx1"/>
                                          </a:gs>
                                        </a:gsLst>
                                        <a:lin ang="5400000" scaled="0"/>
                                      </a:gradFill>
                                      <a:latin typeface="Cambria Math" panose="02040503050406030204" pitchFamily="18" charset="0"/>
                                      <a:ea typeface="Cambria Math"/>
                                    </a:rPr>
                                  </m:ctrlPr>
                                </m:sSubPr>
                                <m:e>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𝑎</m:t>
                                  </m:r>
                                </m:e>
                                <m:sub>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𝑗</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𝑙</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𝑘</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m:t>
                                  </m:r>
                                  <m:r>
                                    <a:rPr lang="en-US" sz="2400" b="0" i="1" smtClean="0">
                                      <a:gradFill>
                                        <a:gsLst>
                                          <a:gs pos="2917">
                                            <a:schemeClr val="tx1"/>
                                          </a:gs>
                                          <a:gs pos="30000">
                                            <a:schemeClr val="tx1"/>
                                          </a:gs>
                                        </a:gsLst>
                                        <a:lin ang="5400000" scaled="0"/>
                                      </a:gradFill>
                                      <a:latin typeface="Cambria Math" panose="02040503050406030204" pitchFamily="18" charset="0"/>
                                      <a:ea typeface="Cambria Math"/>
                                    </a:rPr>
                                    <m:t>𝑚</m:t>
                                  </m:r>
                                </m:sub>
                              </m:sSub>
                              <m:r>
                                <a:rPr lang="en-US" sz="2400" b="0" i="1" smtClean="0">
                                  <a:gradFill>
                                    <a:gsLst>
                                      <a:gs pos="2917">
                                        <a:schemeClr val="tx1"/>
                                      </a:gs>
                                      <a:gs pos="30000">
                                        <a:schemeClr val="tx1"/>
                                      </a:gs>
                                    </a:gsLst>
                                    <a:lin ang="5400000" scaled="0"/>
                                  </a:gradFill>
                                  <a:latin typeface="Cambria Math" panose="02040503050406030204" pitchFamily="18" charset="0"/>
                                  <a:ea typeface="Cambria Math"/>
                                </a:rPr>
                                <m:t>)</m:t>
                              </m:r>
                            </m:e>
                          </m:nary>
                        </m:e>
                      </m:nary>
                    </m:oMath>
                  </m:oMathPara>
                </a14:m>
                <a:endParaRPr lang="en-US" sz="2400" dirty="0">
                  <a:latin typeface="+mj-lt"/>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mc:Choice>
        <mc:Fallback xmlns="">
          <p:sp>
            <p:nvSpPr>
              <p:cNvPr id="11" name="TextBox 10"/>
              <p:cNvSpPr txBox="1">
                <a:spLocks noRot="1" noChangeAspect="1" noMove="1" noResize="1" noEditPoints="1" noAdjustHandles="1" noChangeArrowheads="1" noChangeShapeType="1" noTextEdit="1"/>
              </p:cNvSpPr>
              <p:nvPr/>
            </p:nvSpPr>
            <p:spPr>
              <a:xfrm>
                <a:off x="3362178" y="3094891"/>
                <a:ext cx="5641145" cy="1612493"/>
              </a:xfrm>
              <a:prstGeom prst="rect">
                <a:avLst/>
              </a:prstGeom>
              <a:blipFill rotWithShape="1">
                <a:blip r:embed="rId6"/>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30018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Shared Weights And Biases</a:t>
            </a:r>
          </a:p>
          <a:p>
            <a:pPr algn="just"/>
            <a:endParaRPr lang="en-US" sz="4400" b="1" dirty="0"/>
          </a:p>
          <a:p>
            <a:pPr algn="just"/>
            <a:endParaRPr lang="en-US" sz="4400" b="1" dirty="0"/>
          </a:p>
          <a:p>
            <a:pPr algn="just"/>
            <a:endParaRPr lang="en-US" sz="4400" b="1" dirty="0"/>
          </a:p>
        </p:txBody>
      </p:sp>
      <mc:AlternateContent xmlns:mc="http://schemas.openxmlformats.org/markup-compatibility/2006" xmlns:a14="http://schemas.microsoft.com/office/drawing/2010/main">
        <mc:Choice Requires="a14">
          <p:sp>
            <p:nvSpPr>
              <p:cNvPr id="8" name="Text Placeholder 22"/>
              <p:cNvSpPr txBox="1">
                <a:spLocks/>
              </p:cNvSpPr>
              <p:nvPr/>
            </p:nvSpPr>
            <p:spPr>
              <a:xfrm>
                <a:off x="215926" y="1276660"/>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dirty="0">
                    <a:solidFill>
                      <a:schemeClr val="tx1">
                        <a:lumMod val="75000"/>
                        <a:lumOff val="25000"/>
                      </a:schemeClr>
                    </a:solidFill>
                    <a:latin typeface="+mj-lt"/>
                  </a:rPr>
                  <a:t>Convolutional networks are well adapted to the translation invariance of images</a:t>
                </a:r>
              </a:p>
              <a:p>
                <a:pPr lvl="1" algn="just"/>
                <a:r>
                  <a:rPr lang="en-US" dirty="0">
                    <a:solidFill>
                      <a:schemeClr val="tx1">
                        <a:lumMod val="75000"/>
                        <a:lumOff val="25000"/>
                      </a:schemeClr>
                    </a:solidFill>
                    <a:latin typeface="+mj-lt"/>
                  </a:rPr>
                  <a:t>Greatly reduces the number of parameters involved in a convolutional network </a:t>
                </a:r>
                <a14:m>
                  <m:oMath xmlns:m="http://schemas.openxmlformats.org/officeDocument/2006/math">
                    <m:r>
                      <a:rPr lang="en-US" i="1" dirty="0" smtClean="0">
                        <a:solidFill>
                          <a:schemeClr val="tx1">
                            <a:lumMod val="75000"/>
                            <a:lumOff val="25000"/>
                          </a:schemeClr>
                        </a:solidFill>
                        <a:latin typeface="Cambria Math" panose="02040503050406030204" pitchFamily="18" charset="0"/>
                      </a:rPr>
                      <m:t>(</m:t>
                    </m:r>
                    <m:r>
                      <a:rPr lang="en-US" b="0" i="1" dirty="0" smtClean="0">
                        <a:solidFill>
                          <a:schemeClr val="tx1">
                            <a:lumMod val="75000"/>
                            <a:lumOff val="25000"/>
                          </a:schemeClr>
                        </a:solidFill>
                        <a:latin typeface="Cambria Math" panose="02040503050406030204" pitchFamily="18" charset="0"/>
                      </a:rPr>
                      <m:t>𝑝</m:t>
                    </m:r>
                    <m:r>
                      <a:rPr lang="en-US" b="0" i="1" dirty="0" smtClean="0">
                        <a:solidFill>
                          <a:schemeClr val="tx1">
                            <a:lumMod val="75000"/>
                            <a:lumOff val="25000"/>
                          </a:schemeClr>
                        </a:solidFill>
                        <a:latin typeface="Cambria Math" panose="02040503050406030204" pitchFamily="18" charset="0"/>
                        <a:ea typeface="Cambria Math"/>
                      </a:rPr>
                      <m:t>×</m:t>
                    </m:r>
                    <m:r>
                      <a:rPr lang="en-US" b="0" i="1" dirty="0" smtClean="0">
                        <a:solidFill>
                          <a:schemeClr val="tx1">
                            <a:lumMod val="75000"/>
                            <a:lumOff val="25000"/>
                          </a:schemeClr>
                        </a:solidFill>
                        <a:latin typeface="Cambria Math" panose="02040503050406030204" pitchFamily="18" charset="0"/>
                      </a:rPr>
                      <m:t>𝑝</m:t>
                    </m:r>
                    <m:r>
                      <a:rPr lang="en-US" b="0" i="1" dirty="0" smtClean="0">
                        <a:solidFill>
                          <a:schemeClr val="tx1">
                            <a:lumMod val="75000"/>
                            <a:lumOff val="25000"/>
                          </a:schemeClr>
                        </a:solidFill>
                        <a:latin typeface="Cambria Math" panose="02040503050406030204" pitchFamily="18" charset="0"/>
                      </a:rPr>
                      <m:t>+</m:t>
                    </m:r>
                    <m:r>
                      <a:rPr lang="en-US" b="0" i="1" dirty="0" smtClean="0">
                        <a:solidFill>
                          <a:schemeClr val="tx1">
                            <a:lumMod val="75000"/>
                            <a:lumOff val="25000"/>
                          </a:schemeClr>
                        </a:solidFill>
                        <a:latin typeface="Cambria Math" panose="02040503050406030204" pitchFamily="18" charset="0"/>
                      </a:rPr>
                      <m:t>𝑏</m:t>
                    </m:r>
                    <m:r>
                      <a:rPr lang="en-US" i="1" dirty="0" smtClean="0">
                        <a:solidFill>
                          <a:schemeClr val="tx1">
                            <a:lumMod val="75000"/>
                            <a:lumOff val="25000"/>
                          </a:schemeClr>
                        </a:solidFill>
                        <a:latin typeface="Cambria Math" panose="02040503050406030204" pitchFamily="18" charset="0"/>
                      </a:rPr>
                      <m:t>)</m:t>
                    </m:r>
                  </m:oMath>
                </a14:m>
                <a:endParaRPr lang="en-US" dirty="0">
                  <a:solidFill>
                    <a:schemeClr val="tx1">
                      <a:lumMod val="75000"/>
                      <a:lumOff val="25000"/>
                    </a:schemeClr>
                  </a:solidFill>
                  <a:latin typeface="+mj-lt"/>
                </a:endParaRPr>
              </a:p>
              <a:p>
                <a:pPr marL="342900" lvl="1" indent="0" algn="just">
                  <a:buNone/>
                </a:pPr>
                <a:endParaRPr lang="en-US" dirty="0">
                  <a:solidFill>
                    <a:schemeClr val="tx1">
                      <a:lumMod val="75000"/>
                      <a:lumOff val="25000"/>
                    </a:schemeClr>
                  </a:solidFill>
                </a:endParaRPr>
              </a:p>
              <a:p>
                <a:pPr marL="342900" lvl="1" indent="0" algn="just">
                  <a:buNone/>
                </a:pPr>
                <a:r>
                  <a:rPr lang="en-US" dirty="0">
                    <a:solidFill>
                      <a:schemeClr val="tx1">
                        <a:lumMod val="75000"/>
                        <a:lumOff val="25000"/>
                      </a:schemeClr>
                    </a:solidFill>
                    <a:latin typeface="+mj-lt"/>
                  </a:rPr>
                  <a:t>Terminology</a:t>
                </a:r>
              </a:p>
              <a:p>
                <a:pPr marL="342900" lvl="1" indent="0" algn="just">
                  <a:buNone/>
                </a:pPr>
                <a:endParaRPr lang="en-US" dirty="0">
                  <a:solidFill>
                    <a:schemeClr val="tx1">
                      <a:lumMod val="75000"/>
                      <a:lumOff val="25000"/>
                    </a:schemeClr>
                  </a:solidFill>
                </a:endParaRPr>
              </a:p>
              <a:p>
                <a:pPr marL="342900" lvl="1" indent="0" algn="just">
                  <a:buNone/>
                </a:pPr>
                <a:endParaRPr lang="en-US" dirty="0">
                  <a:solidFill>
                    <a:schemeClr val="tx1">
                      <a:lumMod val="75000"/>
                      <a:lumOff val="25000"/>
                    </a:schemeClr>
                  </a:solidFill>
                </a:endParaRPr>
              </a:p>
            </p:txBody>
          </p:sp>
        </mc:Choice>
        <mc:Fallback xmlns="">
          <p:sp>
            <p:nvSpPr>
              <p:cNvPr id="8" name="Text Placeholder 22"/>
              <p:cNvSpPr txBox="1">
                <a:spLocks noRot="1" noChangeAspect="1" noMove="1" noResize="1" noEditPoints="1" noAdjustHandles="1" noChangeArrowheads="1" noChangeShapeType="1" noTextEdit="1"/>
              </p:cNvSpPr>
              <p:nvPr/>
            </p:nvSpPr>
            <p:spPr>
              <a:xfrm>
                <a:off x="215926" y="1276660"/>
                <a:ext cx="11589135" cy="5118939"/>
              </a:xfrm>
              <a:prstGeom prst="rect">
                <a:avLst/>
              </a:prstGeom>
              <a:blipFill rotWithShape="1">
                <a:blip r:embed="rId3"/>
                <a:stretch>
                  <a:fillRect t="-1548" r="-789"/>
                </a:stretch>
              </a:blipFill>
            </p:spPr>
            <p:txBody>
              <a:bodyPr/>
              <a:lstStyle/>
              <a:p>
                <a:r>
                  <a:rPr lang="en-US">
                    <a:noFill/>
                  </a:rPr>
                  <a:t> </a:t>
                </a:r>
              </a:p>
            </p:txBody>
          </p:sp>
        </mc:Fallback>
      </mc:AlternateContent>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Table 2"/>
          <p:cNvGraphicFramePr>
            <a:graphicFrameLocks noGrp="1"/>
          </p:cNvGraphicFramePr>
          <p:nvPr>
            <p:extLst>
              <p:ext uri="{D42A27DB-BD31-4B8C-83A1-F6EECF244321}">
                <p14:modId xmlns:p14="http://schemas.microsoft.com/office/powerpoint/2010/main" val="193607202"/>
              </p:ext>
            </p:extLst>
          </p:nvPr>
        </p:nvGraphicFramePr>
        <p:xfrm>
          <a:off x="673035" y="3566790"/>
          <a:ext cx="9842592" cy="1567917"/>
        </p:xfrm>
        <a:graphic>
          <a:graphicData uri="http://schemas.openxmlformats.org/drawingml/2006/table">
            <a:tbl>
              <a:tblPr firstRow="1" bandRow="1">
                <a:tableStyleId>{5940675A-B579-460E-94D1-54222C63F5DA}</a:tableStyleId>
              </a:tblPr>
              <a:tblGrid>
                <a:gridCol w="4921296">
                  <a:extLst>
                    <a:ext uri="{9D8B030D-6E8A-4147-A177-3AD203B41FA5}">
                      <a16:colId xmlns:a16="http://schemas.microsoft.com/office/drawing/2014/main" val="20000"/>
                    </a:ext>
                  </a:extLst>
                </a:gridCol>
                <a:gridCol w="4921296">
                  <a:extLst>
                    <a:ext uri="{9D8B030D-6E8A-4147-A177-3AD203B41FA5}">
                      <a16:colId xmlns:a16="http://schemas.microsoft.com/office/drawing/2014/main" val="20001"/>
                    </a:ext>
                  </a:extLst>
                </a:gridCol>
              </a:tblGrid>
              <a:tr h="470637">
                <a:tc>
                  <a:txBody>
                    <a:bodyPr/>
                    <a:lstStyle/>
                    <a:p>
                      <a:r>
                        <a:rPr lang="en-US" sz="1800" b="0" i="0" kern="1200" dirty="0">
                          <a:solidFill>
                            <a:schemeClr val="tx1"/>
                          </a:solidFill>
                          <a:effectLst/>
                          <a:latin typeface="+mj-lt"/>
                          <a:ea typeface="+mn-ea"/>
                          <a:cs typeface="+mn-cs"/>
                        </a:rPr>
                        <a:t>Feature map/Activation map</a:t>
                      </a:r>
                      <a:endParaRPr lang="en-US" dirty="0">
                        <a:latin typeface="+mj-lt"/>
                      </a:endParaRPr>
                    </a:p>
                  </a:txBody>
                  <a:tcPr/>
                </a:tc>
                <a:tc>
                  <a:txBody>
                    <a:bodyPr/>
                    <a:lstStyle/>
                    <a:p>
                      <a:r>
                        <a:rPr lang="en-US" sz="1800" b="0" i="0" kern="1200" dirty="0">
                          <a:solidFill>
                            <a:schemeClr val="tx1"/>
                          </a:solidFill>
                          <a:effectLst/>
                          <a:latin typeface="+mj-lt"/>
                          <a:ea typeface="+mn-ea"/>
                          <a:cs typeface="+mn-cs"/>
                        </a:rPr>
                        <a:t>Map from the input layer to the hidden layer</a:t>
                      </a:r>
                      <a:endParaRPr lang="en-US" dirty="0">
                        <a:latin typeface="+mj-lt"/>
                      </a:endParaRPr>
                    </a:p>
                  </a:txBody>
                  <a:tcPr/>
                </a:tc>
                <a:extLst>
                  <a:ext uri="{0D108BD9-81ED-4DB2-BD59-A6C34878D82A}">
                    <a16:rowId xmlns:a16="http://schemas.microsoft.com/office/drawing/2014/main" val="10000"/>
                  </a:ext>
                </a:extLst>
              </a:tr>
              <a:tr h="347857">
                <a:tc>
                  <a:txBody>
                    <a:bodyPr/>
                    <a:lstStyle/>
                    <a:p>
                      <a:r>
                        <a:rPr lang="en-US" sz="1800" b="0" i="0" kern="1200" dirty="0">
                          <a:solidFill>
                            <a:schemeClr val="tx1"/>
                          </a:solidFill>
                          <a:effectLst/>
                          <a:latin typeface="+mj-lt"/>
                          <a:ea typeface="+mn-ea"/>
                          <a:cs typeface="+mn-cs"/>
                        </a:rPr>
                        <a:t>Shared weights</a:t>
                      </a:r>
                      <a:endParaRPr lang="en-US" dirty="0">
                        <a:latin typeface="+mj-lt"/>
                      </a:endParaRPr>
                    </a:p>
                  </a:txBody>
                  <a:tcPr/>
                </a:tc>
                <a:tc>
                  <a:txBody>
                    <a:bodyPr/>
                    <a:lstStyle/>
                    <a:p>
                      <a:r>
                        <a:rPr lang="en-US" sz="1800" b="0" i="0" kern="1200" dirty="0">
                          <a:solidFill>
                            <a:schemeClr val="tx1"/>
                          </a:solidFill>
                          <a:effectLst/>
                          <a:latin typeface="+mj-lt"/>
                          <a:ea typeface="+mn-ea"/>
                          <a:cs typeface="+mn-cs"/>
                        </a:rPr>
                        <a:t>Weights defining the feature map</a:t>
                      </a:r>
                      <a:endParaRPr lang="en-US" dirty="0">
                        <a:latin typeface="+mj-lt"/>
                      </a:endParaRPr>
                    </a:p>
                  </a:txBody>
                  <a:tcPr/>
                </a:tc>
                <a:extLst>
                  <a:ext uri="{0D108BD9-81ED-4DB2-BD59-A6C34878D82A}">
                    <a16:rowId xmlns:a16="http://schemas.microsoft.com/office/drawing/2014/main" val="10001"/>
                  </a:ext>
                </a:extLst>
              </a:tr>
              <a:tr h="347857">
                <a:tc>
                  <a:txBody>
                    <a:bodyPr/>
                    <a:lstStyle/>
                    <a:p>
                      <a:r>
                        <a:rPr lang="en-US" sz="1800" b="0" i="0" kern="1200" dirty="0">
                          <a:solidFill>
                            <a:schemeClr val="tx1"/>
                          </a:solidFill>
                          <a:effectLst/>
                          <a:latin typeface="+mj-lt"/>
                          <a:ea typeface="+mn-ea"/>
                          <a:cs typeface="+mn-cs"/>
                        </a:rPr>
                        <a:t>Shared bias</a:t>
                      </a:r>
                      <a:endParaRPr lang="en-US" dirty="0">
                        <a:latin typeface="+mj-lt"/>
                      </a:endParaRPr>
                    </a:p>
                  </a:txBody>
                  <a:tcPr/>
                </a:tc>
                <a:tc>
                  <a:txBody>
                    <a:bodyPr/>
                    <a:lstStyle/>
                    <a:p>
                      <a:r>
                        <a:rPr lang="en-US" sz="1800" b="0" i="0" kern="1200" dirty="0">
                          <a:solidFill>
                            <a:schemeClr val="tx1"/>
                          </a:solidFill>
                          <a:effectLst/>
                          <a:latin typeface="+mj-lt"/>
                          <a:ea typeface="+mn-ea"/>
                          <a:cs typeface="+mn-cs"/>
                        </a:rPr>
                        <a:t>Bias defining the feature map</a:t>
                      </a:r>
                      <a:endParaRPr lang="en-US" dirty="0">
                        <a:latin typeface="+mj-lt"/>
                      </a:endParaRPr>
                    </a:p>
                  </a:txBody>
                  <a:tcPr/>
                </a:tc>
                <a:extLst>
                  <a:ext uri="{0D108BD9-81ED-4DB2-BD59-A6C34878D82A}">
                    <a16:rowId xmlns:a16="http://schemas.microsoft.com/office/drawing/2014/main" val="10002"/>
                  </a:ext>
                </a:extLst>
              </a:tr>
              <a:tr h="347857">
                <a:tc>
                  <a:txBody>
                    <a:bodyPr/>
                    <a:lstStyle/>
                    <a:p>
                      <a:r>
                        <a:rPr lang="en-US" sz="1800" b="0" i="0" kern="1200" dirty="0">
                          <a:solidFill>
                            <a:schemeClr val="tx1"/>
                          </a:solidFill>
                          <a:effectLst/>
                          <a:latin typeface="+mj-lt"/>
                          <a:ea typeface="+mn-ea"/>
                          <a:cs typeface="+mn-cs"/>
                        </a:rPr>
                        <a:t>Kernel/Filter</a:t>
                      </a:r>
                      <a:endParaRPr lang="en-US" dirty="0">
                        <a:latin typeface="+mj-lt"/>
                      </a:endParaRPr>
                    </a:p>
                  </a:txBody>
                  <a:tcPr/>
                </a:tc>
                <a:tc>
                  <a:txBody>
                    <a:bodyPr/>
                    <a:lstStyle/>
                    <a:p>
                      <a:r>
                        <a:rPr lang="en-US" sz="1800" b="0" i="0" kern="1200" dirty="0">
                          <a:solidFill>
                            <a:schemeClr val="tx1"/>
                          </a:solidFill>
                          <a:effectLst/>
                          <a:latin typeface="+mj-lt"/>
                          <a:ea typeface="+mn-ea"/>
                          <a:cs typeface="+mn-cs"/>
                        </a:rPr>
                        <a:t>Shared weights and bias</a:t>
                      </a:r>
                      <a:endParaRPr lang="en-US" dirty="0">
                        <a:latin typeface="+mj-lt"/>
                      </a:endParaRP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2977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 calcmode="lin" valueType="num">
                                      <p:cBhvr additive="base">
                                        <p:cTn id="19"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First Layer – High Level Perspective</a:t>
            </a:r>
          </a:p>
          <a:p>
            <a:pPr algn="just"/>
            <a:endParaRPr lang="en-US" sz="4400" b="1" dirty="0"/>
          </a:p>
          <a:p>
            <a:pPr algn="just"/>
            <a:endParaRPr lang="en-US" sz="4400" b="1" dirty="0"/>
          </a:p>
          <a:p>
            <a:pPr algn="just"/>
            <a:endParaRPr lang="en-US" sz="4400" b="1" dirty="0"/>
          </a:p>
          <a:p>
            <a:pPr algn="just"/>
            <a:endParaRPr lang="en-US" sz="4400" b="1" dirty="0"/>
          </a:p>
        </p:txBody>
      </p:sp>
      <p:sp>
        <p:nvSpPr>
          <p:cNvPr id="8" name="Text Placeholder 22"/>
          <p:cNvSpPr txBox="1">
            <a:spLocks/>
          </p:cNvSpPr>
          <p:nvPr/>
        </p:nvSpPr>
        <p:spPr>
          <a:xfrm>
            <a:off x="264998" y="1276660"/>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sz="2000" dirty="0">
                <a:solidFill>
                  <a:schemeClr val="tx1">
                    <a:lumMod val="75000"/>
                    <a:lumOff val="25000"/>
                  </a:schemeClr>
                </a:solidFill>
                <a:latin typeface="+mj-lt"/>
              </a:rPr>
              <a:t>Filters can be thought of as feature identifiers (straight edges, simple colors, and curves)</a:t>
            </a:r>
          </a:p>
          <a:p>
            <a:pPr lvl="1" algn="just"/>
            <a:r>
              <a:rPr lang="en-US" sz="2000" dirty="0">
                <a:solidFill>
                  <a:schemeClr val="tx1">
                    <a:lumMod val="75000"/>
                    <a:lumOff val="25000"/>
                  </a:schemeClr>
                </a:solidFill>
                <a:latin typeface="+mj-lt"/>
              </a:rPr>
              <a:t>In the simple case of a one filter convolution and a curve detector filter, activation map results in regions that are most likely curves in the picture</a:t>
            </a:r>
          </a:p>
          <a:p>
            <a:pPr lvl="1" algn="just"/>
            <a:endParaRPr lang="en-US" sz="2000" dirty="0">
              <a:solidFill>
                <a:schemeClr val="tx1">
                  <a:lumMod val="75000"/>
                  <a:lumOff val="25000"/>
                </a:schemeClr>
              </a:solidFill>
            </a:endParaRPr>
          </a:p>
          <a:p>
            <a:pPr lvl="1" algn="just"/>
            <a:endParaRPr lang="en-US" sz="2000" dirty="0">
              <a:solidFill>
                <a:schemeClr val="tx1">
                  <a:lumMod val="75000"/>
                  <a:lumOff val="25000"/>
                </a:schemeClr>
              </a:solidFill>
            </a:endParaRPr>
          </a:p>
          <a:p>
            <a:pPr lvl="1" algn="just"/>
            <a:endParaRPr lang="en-US" sz="2000" dirty="0">
              <a:solidFill>
                <a:schemeClr val="tx1">
                  <a:lumMod val="75000"/>
                  <a:lumOff val="25000"/>
                </a:schemeClr>
              </a:solidFill>
            </a:endParaRPr>
          </a:p>
          <a:p>
            <a:pPr marL="342900" lvl="1" indent="0" algn="just">
              <a:buNone/>
            </a:pPr>
            <a:endParaRPr lang="en-US" sz="2000" dirty="0">
              <a:solidFill>
                <a:schemeClr val="tx1">
                  <a:lumMod val="75000"/>
                  <a:lumOff val="25000"/>
                </a:schemeClr>
              </a:solidFill>
            </a:endParaRPr>
          </a:p>
          <a:p>
            <a:pPr lvl="1" algn="just"/>
            <a:endParaRPr lang="en-US" sz="2000" dirty="0">
              <a:solidFill>
                <a:schemeClr val="tx1">
                  <a:lumMod val="75000"/>
                  <a:lumOff val="25000"/>
                </a:schemeClr>
              </a:solidFill>
            </a:endParaRPr>
          </a:p>
          <a:p>
            <a:pPr lvl="1" algn="just"/>
            <a:endParaRPr lang="en-US" sz="2000" dirty="0">
              <a:solidFill>
                <a:schemeClr val="tx1">
                  <a:lumMod val="75000"/>
                  <a:lumOff val="25000"/>
                </a:schemeClr>
              </a:solidFill>
            </a:endParaRPr>
          </a:p>
          <a:p>
            <a:pPr marL="342900" lvl="1" indent="0" algn="just">
              <a:buNone/>
            </a:pPr>
            <a:endParaRPr lang="en-US" sz="2000" dirty="0">
              <a:solidFill>
                <a:schemeClr val="tx1">
                  <a:lumMod val="75000"/>
                  <a:lumOff val="25000"/>
                </a:schemeClr>
              </a:solidFill>
            </a:endParaRPr>
          </a:p>
          <a:p>
            <a:pPr marL="342900" lvl="1" indent="0" algn="just">
              <a:buNone/>
            </a:pPr>
            <a:endParaRPr lang="en-US" sz="2000" dirty="0">
              <a:solidFill>
                <a:schemeClr val="tx1">
                  <a:lumMod val="75000"/>
                  <a:lumOff val="25000"/>
                </a:schemeClr>
              </a:solidFill>
            </a:endParaRPr>
          </a:p>
          <a:p>
            <a:pPr lvl="1" algn="just"/>
            <a:endParaRPr lang="en-US" sz="2000" dirty="0">
              <a:solidFill>
                <a:schemeClr val="tx1">
                  <a:lumMod val="75000"/>
                  <a:lumOff val="25000"/>
                </a:schemeClr>
              </a:solidFill>
            </a:endParaRPr>
          </a:p>
          <a:p>
            <a:pPr lvl="1" algn="just"/>
            <a:endParaRPr lang="en-US" sz="2000" dirty="0">
              <a:solidFill>
                <a:schemeClr val="tx1">
                  <a:lumMod val="75000"/>
                  <a:lumOff val="25000"/>
                </a:schemeClr>
              </a:solidFill>
            </a:endParaRPr>
          </a:p>
          <a:p>
            <a:pPr lvl="1" algn="just"/>
            <a:endParaRPr lang="en-US" sz="2000" dirty="0">
              <a:solidFill>
                <a:schemeClr val="tx1">
                  <a:lumMod val="75000"/>
                  <a:lumOff val="25000"/>
                </a:schemeClr>
              </a:solidFill>
              <a:latin typeface="+mj-lt"/>
            </a:endParaRPr>
          </a:p>
          <a:p>
            <a:pPr lvl="1" algn="just"/>
            <a:r>
              <a:rPr lang="en-US" sz="2000" dirty="0">
                <a:solidFill>
                  <a:schemeClr val="tx1">
                    <a:lumMod val="75000"/>
                    <a:lumOff val="25000"/>
                  </a:schemeClr>
                </a:solidFill>
                <a:latin typeface="+mj-lt"/>
              </a:rPr>
              <a:t>More filters mean greater the depth of the activation map</a:t>
            </a:r>
          </a:p>
          <a:p>
            <a:pPr lvl="1" algn="just"/>
            <a:r>
              <a:rPr lang="en-US" sz="2000" dirty="0">
                <a:solidFill>
                  <a:schemeClr val="tx1">
                    <a:lumMod val="75000"/>
                    <a:lumOff val="25000"/>
                  </a:schemeClr>
                </a:solidFill>
                <a:latin typeface="+mj-lt"/>
              </a:rPr>
              <a:t>This results in more information about the input</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8116" y="2855826"/>
            <a:ext cx="6197590" cy="2763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700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13" end="13"/>
                                            </p:txEl>
                                          </p:spTgt>
                                        </p:tgtEl>
                                        <p:attrNameLst>
                                          <p:attrName>style.visibility</p:attrName>
                                        </p:attrNameLst>
                                      </p:cBhvr>
                                      <p:to>
                                        <p:strVal val="visible"/>
                                      </p:to>
                                    </p:set>
                                    <p:anim calcmode="lin" valueType="num">
                                      <p:cBhvr additive="base">
                                        <p:cTn id="19" dur="500" fill="hold"/>
                                        <p:tgtEl>
                                          <p:spTgt spid="8">
                                            <p:txEl>
                                              <p:pRg st="13" end="1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14" end="14"/>
                                            </p:txEl>
                                          </p:spTgt>
                                        </p:tgtEl>
                                        <p:attrNameLst>
                                          <p:attrName>style.visibility</p:attrName>
                                        </p:attrNameLst>
                                      </p:cBhvr>
                                      <p:to>
                                        <p:strVal val="visible"/>
                                      </p:to>
                                    </p:set>
                                    <p:anim calcmode="lin" valueType="num">
                                      <p:cBhvr additive="base">
                                        <p:cTn id="25" dur="500" fill="hold"/>
                                        <p:tgtEl>
                                          <p:spTgt spid="8">
                                            <p:txEl>
                                              <p:pRg st="14" end="1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Going Deeper Through The Network</a:t>
            </a:r>
          </a:p>
          <a:p>
            <a:pPr algn="just"/>
            <a:endParaRPr lang="en-US" sz="4400" b="1" dirty="0"/>
          </a:p>
          <a:p>
            <a:pPr algn="just"/>
            <a:endParaRPr lang="en-US" sz="4400" b="1" dirty="0"/>
          </a:p>
          <a:p>
            <a:pPr algn="just"/>
            <a:endParaRPr lang="en-US" sz="4400" b="1" dirty="0"/>
          </a:p>
          <a:p>
            <a:pPr algn="just"/>
            <a:endParaRPr lang="en-US" sz="4400" b="1" dirty="0"/>
          </a:p>
        </p:txBody>
      </p:sp>
      <p:sp>
        <p:nvSpPr>
          <p:cNvPr id="8" name="Text Placeholder 22"/>
          <p:cNvSpPr txBox="1">
            <a:spLocks/>
          </p:cNvSpPr>
          <p:nvPr/>
        </p:nvSpPr>
        <p:spPr>
          <a:xfrm>
            <a:off x="208727" y="1518343"/>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dirty="0">
                <a:solidFill>
                  <a:schemeClr val="tx1">
                    <a:lumMod val="75000"/>
                    <a:lumOff val="25000"/>
                  </a:schemeClr>
                </a:solidFill>
                <a:latin typeface="+mj-lt"/>
              </a:rPr>
              <a:t>Many layers are interspersed between convolution layers (example: ReLu and Dropout)</a:t>
            </a:r>
          </a:p>
          <a:p>
            <a:pPr lvl="1" algn="just"/>
            <a:r>
              <a:rPr lang="en-US" dirty="0">
                <a:solidFill>
                  <a:schemeClr val="tx1">
                    <a:lumMod val="75000"/>
                    <a:lumOff val="25000"/>
                  </a:schemeClr>
                </a:solidFill>
                <a:latin typeface="+mj-lt"/>
              </a:rPr>
              <a:t>Introduction of nonlinearities</a:t>
            </a:r>
          </a:p>
          <a:p>
            <a:pPr lvl="1" algn="just"/>
            <a:r>
              <a:rPr lang="en-US" dirty="0">
                <a:solidFill>
                  <a:schemeClr val="tx1">
                    <a:lumMod val="75000"/>
                    <a:lumOff val="25000"/>
                  </a:schemeClr>
                </a:solidFill>
                <a:latin typeface="+mj-lt"/>
              </a:rPr>
              <a:t>Improve the robustness of the network and control overfitting</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6262" y="3472477"/>
            <a:ext cx="11058827" cy="934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907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RelU</a:t>
            </a:r>
          </a:p>
          <a:p>
            <a:pPr algn="just"/>
            <a:endParaRPr lang="en-US" sz="4400" b="1" dirty="0"/>
          </a:p>
          <a:p>
            <a:pPr algn="just"/>
            <a:endParaRPr lang="en-US" sz="4400" b="1" dirty="0"/>
          </a:p>
          <a:p>
            <a:pPr algn="just"/>
            <a:endParaRPr lang="en-US" sz="4400" b="1" dirty="0"/>
          </a:p>
        </p:txBody>
      </p:sp>
      <mc:AlternateContent xmlns:mc="http://schemas.openxmlformats.org/markup-compatibility/2006" xmlns:a14="http://schemas.microsoft.com/office/drawing/2010/main">
        <mc:Choice Requires="a14">
          <p:sp>
            <p:nvSpPr>
              <p:cNvPr id="8" name="Text Placeholder 22"/>
              <p:cNvSpPr txBox="1">
                <a:spLocks/>
              </p:cNvSpPr>
              <p:nvPr/>
            </p:nvSpPr>
            <p:spPr>
              <a:xfrm>
                <a:off x="208727" y="1509568"/>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sz="2800" dirty="0">
                    <a:solidFill>
                      <a:schemeClr val="tx1">
                        <a:lumMod val="75000"/>
                        <a:lumOff val="25000"/>
                      </a:schemeClr>
                    </a:solidFill>
                    <a:latin typeface="+mj-lt"/>
                  </a:rPr>
                  <a:t>The Rectified Linear Unit has become very popular recently</a:t>
                </a:r>
              </a:p>
              <a:p>
                <a:pPr lvl="1" algn="just"/>
                <a:endParaRPr lang="en-US" sz="2800" dirty="0">
                  <a:solidFill>
                    <a:schemeClr val="tx1">
                      <a:lumMod val="75000"/>
                      <a:lumOff val="25000"/>
                    </a:schemeClr>
                  </a:solidFill>
                  <a:latin typeface="+mj-lt"/>
                </a:endParaRPr>
              </a:p>
              <a:p>
                <a:pPr marL="342900" lvl="1" indent="0" algn="ctr">
                  <a:buNone/>
                </a:pPr>
                <a14:m>
                  <m:oMathPara xmlns:m="http://schemas.openxmlformats.org/officeDocument/2006/math">
                    <m:oMathParaPr>
                      <m:jc m:val="centerGroup"/>
                    </m:oMathParaPr>
                    <m:oMath xmlns:m="http://schemas.openxmlformats.org/officeDocument/2006/math">
                      <m:r>
                        <a:rPr lang="en-US" sz="2800" i="1" dirty="0" smtClean="0">
                          <a:solidFill>
                            <a:schemeClr val="tx1">
                              <a:lumMod val="75000"/>
                              <a:lumOff val="25000"/>
                            </a:schemeClr>
                          </a:solidFill>
                          <a:latin typeface="Cambria Math" panose="02040503050406030204" pitchFamily="18" charset="0"/>
                        </a:rPr>
                        <m:t>𝑓</m:t>
                      </m:r>
                      <m:d>
                        <m:dPr>
                          <m:ctrlPr>
                            <a:rPr lang="en-US" sz="2800" i="1" dirty="0" smtClean="0">
                              <a:solidFill>
                                <a:schemeClr val="tx1">
                                  <a:lumMod val="75000"/>
                                  <a:lumOff val="25000"/>
                                </a:schemeClr>
                              </a:solidFill>
                              <a:latin typeface="Cambria Math" panose="02040503050406030204" pitchFamily="18" charset="0"/>
                            </a:rPr>
                          </m:ctrlPr>
                        </m:dPr>
                        <m:e>
                          <m:r>
                            <a:rPr lang="en-US" sz="2800" i="1" dirty="0" smtClean="0">
                              <a:solidFill>
                                <a:schemeClr val="tx1">
                                  <a:lumMod val="75000"/>
                                  <a:lumOff val="25000"/>
                                </a:schemeClr>
                              </a:solidFill>
                              <a:latin typeface="Cambria Math" panose="02040503050406030204" pitchFamily="18" charset="0"/>
                            </a:rPr>
                            <m:t>𝑥</m:t>
                          </m:r>
                        </m:e>
                      </m:d>
                      <m:r>
                        <a:rPr lang="en-US" sz="2800" i="1" dirty="0" smtClean="0">
                          <a:solidFill>
                            <a:schemeClr val="tx1">
                              <a:lumMod val="75000"/>
                              <a:lumOff val="25000"/>
                            </a:schemeClr>
                          </a:solidFill>
                          <a:latin typeface="Cambria Math" panose="02040503050406030204" pitchFamily="18" charset="0"/>
                        </a:rPr>
                        <m:t>=</m:t>
                      </m:r>
                      <m:func>
                        <m:funcPr>
                          <m:ctrlPr>
                            <a:rPr lang="en-US" sz="2800" i="1" dirty="0" smtClean="0">
                              <a:solidFill>
                                <a:schemeClr val="tx1">
                                  <a:lumMod val="75000"/>
                                  <a:lumOff val="25000"/>
                                </a:schemeClr>
                              </a:solidFill>
                              <a:latin typeface="Cambria Math" panose="02040503050406030204" pitchFamily="18" charset="0"/>
                            </a:rPr>
                          </m:ctrlPr>
                        </m:funcPr>
                        <m:fName>
                          <m:r>
                            <m:rPr>
                              <m:sty m:val="p"/>
                            </m:rPr>
                            <a:rPr lang="en-US" sz="2800" i="0" dirty="0" smtClean="0">
                              <a:solidFill>
                                <a:schemeClr val="tx1">
                                  <a:lumMod val="75000"/>
                                  <a:lumOff val="25000"/>
                                </a:schemeClr>
                              </a:solidFill>
                              <a:latin typeface="Cambria Math" panose="02040503050406030204" pitchFamily="18" charset="0"/>
                            </a:rPr>
                            <m:t>max</m:t>
                          </m:r>
                        </m:fName>
                        <m:e>
                          <m:d>
                            <m:dPr>
                              <m:ctrlPr>
                                <a:rPr lang="en-US" sz="2800" i="1" dirty="0" smtClean="0">
                                  <a:solidFill>
                                    <a:schemeClr val="tx1">
                                      <a:lumMod val="75000"/>
                                      <a:lumOff val="25000"/>
                                    </a:schemeClr>
                                  </a:solidFill>
                                  <a:latin typeface="Cambria Math" panose="02040503050406030204" pitchFamily="18" charset="0"/>
                                </a:rPr>
                              </m:ctrlPr>
                            </m:dPr>
                            <m:e>
                              <m:r>
                                <a:rPr lang="en-US" sz="2800" i="1" dirty="0" smtClean="0">
                                  <a:solidFill>
                                    <a:schemeClr val="tx1">
                                      <a:lumMod val="75000"/>
                                      <a:lumOff val="25000"/>
                                    </a:schemeClr>
                                  </a:solidFill>
                                  <a:latin typeface="Cambria Math" panose="02040503050406030204" pitchFamily="18" charset="0"/>
                                </a:rPr>
                                <m:t>0,</m:t>
                              </m:r>
                              <m:r>
                                <a:rPr lang="en-US" sz="2800" i="1" dirty="0" smtClean="0">
                                  <a:solidFill>
                                    <a:schemeClr val="tx1">
                                      <a:lumMod val="75000"/>
                                      <a:lumOff val="25000"/>
                                    </a:schemeClr>
                                  </a:solidFill>
                                  <a:latin typeface="Cambria Math" panose="02040503050406030204" pitchFamily="18" charset="0"/>
                                </a:rPr>
                                <m:t>𝑥</m:t>
                              </m:r>
                            </m:e>
                          </m:d>
                        </m:e>
                      </m:func>
                    </m:oMath>
                  </m:oMathPara>
                </a14:m>
                <a:endParaRPr lang="en-US" sz="2800" dirty="0">
                  <a:solidFill>
                    <a:schemeClr val="tx1">
                      <a:lumMod val="75000"/>
                      <a:lumOff val="25000"/>
                    </a:schemeClr>
                  </a:solidFill>
                  <a:latin typeface="+mj-lt"/>
                </a:endParaRPr>
              </a:p>
              <a:p>
                <a:pPr marL="342900" lvl="1" indent="0" algn="ctr">
                  <a:buNone/>
                </a:pPr>
                <a:endParaRPr lang="en-US" sz="2800" dirty="0">
                  <a:solidFill>
                    <a:schemeClr val="tx1">
                      <a:lumMod val="75000"/>
                      <a:lumOff val="25000"/>
                    </a:schemeClr>
                  </a:solidFill>
                  <a:latin typeface="+mj-lt"/>
                </a:endParaRPr>
              </a:p>
              <a:p>
                <a:pPr lvl="1" algn="just"/>
                <a:r>
                  <a:rPr lang="en-US" sz="2800" dirty="0">
                    <a:solidFill>
                      <a:schemeClr val="tx1">
                        <a:lumMod val="75000"/>
                        <a:lumOff val="25000"/>
                      </a:schemeClr>
                    </a:solidFill>
                    <a:latin typeface="+mj-lt"/>
                  </a:rPr>
                  <a:t>Activation is simply thresholded at zero</a:t>
                </a:r>
              </a:p>
              <a:p>
                <a:pPr lvl="1" algn="just"/>
                <a:r>
                  <a:rPr lang="en-US" sz="2800" dirty="0">
                    <a:solidFill>
                      <a:schemeClr val="tx1">
                        <a:lumMod val="75000"/>
                        <a:lumOff val="25000"/>
                      </a:schemeClr>
                    </a:solidFill>
                    <a:latin typeface="+mj-lt"/>
                  </a:rPr>
                  <a:t>It was found to greatly accelerate (Krizhevsky et al.) the convergence of stochastic gradient descent compared to the sigmoid/tanh functions</a:t>
                </a:r>
              </a:p>
              <a:p>
                <a:pPr lvl="1" algn="just"/>
                <a:r>
                  <a:rPr lang="en-US" sz="2800" dirty="0">
                    <a:solidFill>
                      <a:schemeClr val="tx1">
                        <a:lumMod val="75000"/>
                        <a:lumOff val="25000"/>
                      </a:schemeClr>
                    </a:solidFill>
                    <a:latin typeface="+mj-lt"/>
                  </a:rPr>
                  <a:t>Compared to tanh/sigmoid neurons that involve expensive operations (exponentials, etc.), the ReLU is simply thresholding</a:t>
                </a:r>
              </a:p>
            </p:txBody>
          </p:sp>
        </mc:Choice>
        <mc:Fallback xmlns="">
          <p:sp>
            <p:nvSpPr>
              <p:cNvPr id="8" name="Text Placeholder 22"/>
              <p:cNvSpPr txBox="1">
                <a:spLocks noRot="1" noChangeAspect="1" noMove="1" noResize="1" noEditPoints="1" noAdjustHandles="1" noChangeArrowheads="1" noChangeShapeType="1" noTextEdit="1"/>
              </p:cNvSpPr>
              <p:nvPr/>
            </p:nvSpPr>
            <p:spPr>
              <a:xfrm>
                <a:off x="208727" y="1509568"/>
                <a:ext cx="11589135" cy="5118939"/>
              </a:xfrm>
              <a:prstGeom prst="rect">
                <a:avLst/>
              </a:prstGeom>
              <a:blipFill rotWithShape="1">
                <a:blip r:embed="rId3"/>
                <a:stretch>
                  <a:fillRect t="-2026" r="-1105"/>
                </a:stretch>
              </a:blipFill>
            </p:spPr>
            <p:txBody>
              <a:bodyPr/>
              <a:lstStyle/>
              <a:p>
                <a:r>
                  <a:rPr lang="en-US">
                    <a:noFill/>
                  </a:rPr>
                  <a:t> </a:t>
                </a:r>
              </a:p>
            </p:txBody>
          </p:sp>
        </mc:Fallback>
      </mc:AlternateContent>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92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5" end="5"/>
                                            </p:txEl>
                                          </p:spTgt>
                                        </p:tgtEl>
                                        <p:attrNameLst>
                                          <p:attrName>style.visibility</p:attrName>
                                        </p:attrNameLst>
                                      </p:cBhvr>
                                      <p:to>
                                        <p:strVal val="visible"/>
                                      </p:to>
                                    </p:set>
                                    <p:anim calcmode="lin" valueType="num">
                                      <p:cBhvr additive="base">
                                        <p:cTn id="25"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6" end="6"/>
                                            </p:txEl>
                                          </p:spTgt>
                                        </p:tgtEl>
                                        <p:attrNameLst>
                                          <p:attrName>style.visibility</p:attrName>
                                        </p:attrNameLst>
                                      </p:cBhvr>
                                      <p:to>
                                        <p:strVal val="visible"/>
                                      </p:to>
                                    </p:set>
                                    <p:anim calcmode="lin" valueType="num">
                                      <p:cBhvr additive="base">
                                        <p:cTn id="31"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Dropout</a:t>
            </a:r>
          </a:p>
          <a:p>
            <a:pPr algn="just"/>
            <a:endParaRPr lang="en-US" sz="4400" b="1" dirty="0"/>
          </a:p>
          <a:p>
            <a:pPr algn="just"/>
            <a:endParaRPr lang="en-US" sz="4400" b="1" dirty="0"/>
          </a:p>
          <a:p>
            <a:pPr algn="just"/>
            <a:endParaRPr lang="en-US" sz="4400" b="1" dirty="0"/>
          </a:p>
        </p:txBody>
      </p:sp>
      <p:sp>
        <p:nvSpPr>
          <p:cNvPr id="8" name="Text Placeholder 22"/>
          <p:cNvSpPr txBox="1">
            <a:spLocks/>
          </p:cNvSpPr>
          <p:nvPr/>
        </p:nvSpPr>
        <p:spPr>
          <a:xfrm>
            <a:off x="293133" y="1481433"/>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en-US" dirty="0">
                <a:solidFill>
                  <a:schemeClr val="tx1">
                    <a:lumMod val="75000"/>
                    <a:lumOff val="25000"/>
                  </a:schemeClr>
                </a:solidFill>
                <a:latin typeface="+mj-lt"/>
              </a:rPr>
              <a:t>A form of ensemble learning</a:t>
            </a:r>
          </a:p>
          <a:p>
            <a:pPr lvl="1" algn="just"/>
            <a:r>
              <a:rPr lang="en-US" dirty="0">
                <a:solidFill>
                  <a:schemeClr val="tx1">
                    <a:lumMod val="75000"/>
                    <a:lumOff val="25000"/>
                  </a:schemeClr>
                </a:solidFill>
                <a:latin typeface="+mj-lt"/>
              </a:rPr>
              <a:t>Avoids overfitting (by preventing inter-dependencies from emerging between nodes)</a:t>
            </a:r>
          </a:p>
          <a:p>
            <a:pPr lvl="1" algn="just"/>
            <a:r>
              <a:rPr lang="en-US" dirty="0">
                <a:solidFill>
                  <a:schemeClr val="tx1">
                    <a:lumMod val="75000"/>
                    <a:lumOff val="25000"/>
                  </a:schemeClr>
                </a:solidFill>
                <a:latin typeface="+mj-lt"/>
              </a:rPr>
              <a:t>Dropout - an extreme version of bagging</a:t>
            </a:r>
          </a:p>
          <a:p>
            <a:pPr lvl="1" algn="just"/>
            <a:r>
              <a:rPr lang="en-US" dirty="0">
                <a:solidFill>
                  <a:schemeClr val="tx1">
                    <a:lumMod val="75000"/>
                    <a:lumOff val="25000"/>
                  </a:schemeClr>
                </a:solidFill>
                <a:latin typeface="+mj-lt"/>
              </a:rPr>
              <a:t>At each training step, the dropout procedure creates a different network by removing some neurons randomly</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2763" t="3570" r="1934" b="5182"/>
          <a:stretch/>
        </p:blipFill>
        <p:spPr bwMode="auto">
          <a:xfrm>
            <a:off x="2982350" y="3956495"/>
            <a:ext cx="5458265" cy="2542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340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anim calcmode="lin" valueType="num">
                                      <p:cBhvr additive="base">
                                        <p:cTn id="25"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700"/>
        <p:cNvGrpSpPr/>
        <p:nvPr/>
      </p:nvGrpSpPr>
      <p:grpSpPr>
        <a:xfrm>
          <a:off x="0" y="0"/>
          <a:ext cx="0" cy="0"/>
          <a:chOff x="0" y="0"/>
          <a:chExt cx="0" cy="0"/>
        </a:xfrm>
      </p:grpSpPr>
      <p:pic>
        <p:nvPicPr>
          <p:cNvPr id="702" name="Shape 702"/>
          <p:cNvPicPr preferRelativeResize="0"/>
          <p:nvPr/>
        </p:nvPicPr>
        <p:blipFill>
          <a:blip r:embed="rId3">
            <a:alphaModFix/>
          </a:blip>
          <a:stretch>
            <a:fillRect/>
          </a:stretch>
        </p:blipFill>
        <p:spPr>
          <a:xfrm>
            <a:off x="836098" y="1659989"/>
            <a:ext cx="9855349" cy="4356900"/>
          </a:xfrm>
          <a:prstGeom prst="rect">
            <a:avLst/>
          </a:prstGeom>
          <a:noFill/>
          <a:ln>
            <a:noFill/>
          </a:ln>
        </p:spPr>
      </p:pic>
      <p:sp>
        <p:nvSpPr>
          <p:cNvPr id="6"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Fully Connected Layer (FC layer)</a:t>
            </a:r>
          </a:p>
          <a:p>
            <a:pPr algn="just"/>
            <a:endParaRPr lang="en-US" sz="4400" b="1" dirty="0"/>
          </a:p>
          <a:p>
            <a:pPr algn="just"/>
            <a:endParaRPr lang="en-US" sz="4400" b="1" dirty="0"/>
          </a:p>
          <a:p>
            <a:pPr algn="just"/>
            <a:endParaRPr lang="en-US" sz="4400" b="1" dirty="0"/>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9147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t>Compositional Data</a:t>
            </a:r>
          </a:p>
          <a:p>
            <a:pPr algn="just"/>
            <a:endParaRPr lang="en-US" sz="4400" b="1" dirty="0"/>
          </a:p>
          <a:p>
            <a:pPr algn="just"/>
            <a:r>
              <a:rPr lang="en-US" sz="4400" dirty="0"/>
              <a:t>Sound</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06372" y="2061072"/>
            <a:ext cx="4717708" cy="4109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459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a386001cfb475e71d9c289d83f4224f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56d52bee22a2d005e8866caae1afc15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CB9E75-A460-42D0-BC11-EC531E59AB28}">
  <ds:schemaRefs>
    <ds:schemaRef ds:uri="http://schemas.microsoft.com/sharepoint/v3/contenttype/forms"/>
  </ds:schemaRefs>
</ds:datastoreItem>
</file>

<file path=customXml/itemProps2.xml><?xml version="1.0" encoding="utf-8"?>
<ds:datastoreItem xmlns:ds="http://schemas.openxmlformats.org/officeDocument/2006/customXml" ds:itemID="{A383C830-5CE3-494B-8273-D209C7DDB282}">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A5C990B1-552C-4BC2-8F55-9992DEBD02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3904</Words>
  <Application>Microsoft Office PowerPoint</Application>
  <PresentationFormat>Custom</PresentationFormat>
  <Paragraphs>775</Paragraphs>
  <Slides>88</Slides>
  <Notes>88</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88</vt:i4>
      </vt:variant>
    </vt:vector>
  </HeadingPairs>
  <TitlesOfParts>
    <vt:vector size="110" baseType="lpstr">
      <vt:lpstr>ＭＳ Ｐゴシック</vt:lpstr>
      <vt:lpstr>SimSun</vt:lpstr>
      <vt:lpstr>Arial</vt:lpstr>
      <vt:lpstr>Calibri</vt:lpstr>
      <vt:lpstr>Cambria Math</vt:lpstr>
      <vt:lpstr>Consolas</vt:lpstr>
      <vt:lpstr>Courier New</vt:lpstr>
      <vt:lpstr>Segoe Pro</vt:lpstr>
      <vt:lpstr>Segoe UI</vt:lpstr>
      <vt:lpstr>Segoe UI Light</vt:lpstr>
      <vt:lpstr>Segoe UI Semibold</vt:lpstr>
      <vt:lpstr>Times New Roman</vt:lpstr>
      <vt:lpstr>Wingdings</vt:lpstr>
      <vt:lpstr>Zapf Dingbats</vt:lpstr>
      <vt:lpstr>COLOR TEMPLATE</vt:lpstr>
      <vt:lpstr>1_WHITE TEMPLATE</vt:lpstr>
      <vt:lpstr>2_WHITE TEMPLATE</vt:lpstr>
      <vt:lpstr>FY15 Enterprise identity theme</vt:lpstr>
      <vt:lpstr>1_Windows Server</vt:lpstr>
      <vt:lpstr>2_Windows Server</vt:lpstr>
      <vt:lpstr>3_WHITE TEMPLATE</vt:lpstr>
      <vt:lpstr>think-cell Slide</vt:lpstr>
      <vt:lpstr>Deep Learning</vt:lpstr>
      <vt:lpstr>PowerPoint Presentation</vt:lpstr>
      <vt:lpstr>Introduction to Deep Learning</vt:lpstr>
      <vt:lpstr>PowerPoint Presentation</vt:lpstr>
      <vt:lpstr>PowerPoint Presentation</vt:lpstr>
      <vt:lpstr>PowerPoint Presentation</vt:lpstr>
      <vt:lpstr>PowerPoint Presentation</vt:lpstr>
      <vt:lpstr>PowerPoint Presentation</vt:lpstr>
      <vt:lpstr>PowerPoint Presentation</vt:lpstr>
      <vt:lpstr>Traditional vs Deep Learning</vt:lpstr>
      <vt:lpstr>PowerPoint Presentation</vt:lpstr>
      <vt:lpstr>PowerPoint Presentation</vt:lpstr>
      <vt:lpstr>When does Deep Learning work better than Traditional Approaches?</vt:lpstr>
      <vt:lpstr>PowerPoint Presentation</vt:lpstr>
      <vt:lpstr>PowerPoint Presentation</vt:lpstr>
      <vt:lpstr>PowerPoint Presentation</vt:lpstr>
      <vt:lpstr>PowerPoint Presentation</vt:lpstr>
      <vt:lpstr>Deep Learning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 </vt:lpstr>
      <vt:lpstr> </vt:lpstr>
      <vt:lpstr> </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ep Learning Frameworks</vt:lpstr>
      <vt:lpstr>PowerPoint Presentation</vt:lpstr>
      <vt:lpstr>PowerPoint Presentation</vt:lpstr>
      <vt:lpstr>PowerPoint Presentation</vt:lpstr>
      <vt:lpstr>PowerPoint Presentation</vt:lpstr>
      <vt:lpstr>Deep Learning And Computer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6-29T18:21:09Z</dcterms:created>
  <dcterms:modified xsi:type="dcterms:W3CDTF">2017-11-18T09:4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miprasad@microsoft.com</vt:lpwstr>
  </property>
  <property fmtid="{D5CDD505-2E9C-101B-9397-08002B2CF9AE}" pid="6" name="MSIP_Label_f42aa342-8706-4288-bd11-ebb85995028c_SetDate">
    <vt:lpwstr>2017-11-18T07:52:34.0500089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